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notesMasterIdLst>
    <p:notesMasterId r:id="rId14"/>
  </p:notesMasterIdLst>
  <p:handoutMasterIdLst>
    <p:handoutMasterId r:id="rId15"/>
  </p:handoutMasterIdLst>
  <p:sldIdLst>
    <p:sldId id="385" r:id="rId5"/>
    <p:sldId id="394" r:id="rId6"/>
    <p:sldId id="402" r:id="rId7"/>
    <p:sldId id="395" r:id="rId8"/>
    <p:sldId id="396" r:id="rId9"/>
    <p:sldId id="397" r:id="rId10"/>
    <p:sldId id="398" r:id="rId11"/>
    <p:sldId id="400" r:id="rId12"/>
    <p:sldId id="399" r:id="rId13"/>
  </p:sldIdLst>
  <p:sldSz cx="9144000" cy="6858000" type="screen4x3"/>
  <p:notesSz cx="7023100" cy="9309100"/>
  <p:embeddedFontLst>
    <p:embeddedFont>
      <p:font typeface="Verdana" panose="020B0604030504040204" pitchFamily="34" charset="0"/>
      <p:regular r:id="rId16"/>
      <p:bold r:id="rId17"/>
      <p:italic r:id="rId18"/>
      <p:boldItalic r:id="rId19"/>
    </p:embeddedFont>
    <p:embeddedFont>
      <p:font typeface="Calibri Light" panose="020F0302020204030204" pitchFamily="34" charset="0"/>
      <p:regular r:id="rId20"/>
      <p:italic r:id="rId21"/>
    </p:embeddedFont>
    <p:embeddedFont>
      <p:font typeface="Calibri" panose="020B0604020202020204" charset="0"/>
      <p:regular r:id="rId22"/>
      <p:bold r:id="rId23"/>
      <p:italic r:id="rId24"/>
      <p:bold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CC"/>
    <a:srgbClr val="00269E"/>
    <a:srgbClr val="FFFF00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0294" autoAdjust="0"/>
  </p:normalViewPr>
  <p:slideViewPr>
    <p:cSldViewPr>
      <p:cViewPr varScale="1">
        <p:scale>
          <a:sx n="91" d="100"/>
          <a:sy n="91" d="100"/>
        </p:scale>
        <p:origin x="1195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3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6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thistle\Box%20Sync\Ongoing%20Activities\Ridership\Quarterly%20Updates\CR%20ridership\avg%20weekday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g Weekday CR Ridershi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CC00CC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CC00CC"/>
              </a:solidFill>
              <a:ln w="9525">
                <a:solidFill>
                  <a:srgbClr val="CC00CC"/>
                </a:solidFill>
              </a:ln>
              <a:effectLst/>
            </c:spPr>
          </c:marker>
          <c:cat>
            <c:numRef>
              <c:f>Sheet2!$A$2:$A$34</c:f>
              <c:numCache>
                <c:formatCode>m/d/yyyy</c:formatCode>
                <c:ptCount val="33"/>
                <c:pt idx="0">
                  <c:v>41091</c:v>
                </c:pt>
                <c:pt idx="1">
                  <c:v>41456</c:v>
                </c:pt>
                <c:pt idx="2">
                  <c:v>41821</c:v>
                </c:pt>
                <c:pt idx="3" formatCode="m/d/yyyy\ h:mm">
                  <c:v>42186</c:v>
                </c:pt>
                <c:pt idx="4" formatCode="m/d/yyyy\ h:mm">
                  <c:v>42217</c:v>
                </c:pt>
                <c:pt idx="5" formatCode="m/d/yyyy\ h:mm">
                  <c:v>42248</c:v>
                </c:pt>
                <c:pt idx="6" formatCode="m/d/yyyy\ h:mm">
                  <c:v>42278</c:v>
                </c:pt>
                <c:pt idx="7" formatCode="m/d/yyyy\ h:mm">
                  <c:v>42309</c:v>
                </c:pt>
                <c:pt idx="8" formatCode="m/d/yyyy\ h:mm">
                  <c:v>42339</c:v>
                </c:pt>
                <c:pt idx="9" formatCode="m/d/yyyy\ h:mm">
                  <c:v>42370</c:v>
                </c:pt>
                <c:pt idx="10" formatCode="m/d/yyyy\ h:mm">
                  <c:v>42401</c:v>
                </c:pt>
                <c:pt idx="11" formatCode="m/d/yyyy\ h:mm">
                  <c:v>42430</c:v>
                </c:pt>
                <c:pt idx="12" formatCode="m/d/yyyy\ h:mm">
                  <c:v>42461</c:v>
                </c:pt>
                <c:pt idx="13" formatCode="m/d/yyyy\ h:mm">
                  <c:v>42491</c:v>
                </c:pt>
                <c:pt idx="14" formatCode="m/d/yyyy\ h:mm">
                  <c:v>42522</c:v>
                </c:pt>
                <c:pt idx="15" formatCode="m/d/yyyy\ h:mm">
                  <c:v>42552</c:v>
                </c:pt>
                <c:pt idx="16" formatCode="m/d/yyyy\ h:mm">
                  <c:v>42583</c:v>
                </c:pt>
                <c:pt idx="17" formatCode="m/d/yyyy\ h:mm">
                  <c:v>42614</c:v>
                </c:pt>
                <c:pt idx="18" formatCode="m/d/yyyy\ h:mm">
                  <c:v>42644</c:v>
                </c:pt>
                <c:pt idx="19" formatCode="m/d/yyyy\ h:mm">
                  <c:v>42675</c:v>
                </c:pt>
                <c:pt idx="20" formatCode="m/d/yyyy\ h:mm">
                  <c:v>42705</c:v>
                </c:pt>
                <c:pt idx="21" formatCode="m/d/yyyy\ h:mm">
                  <c:v>42736</c:v>
                </c:pt>
                <c:pt idx="22" formatCode="m/d/yyyy\ h:mm">
                  <c:v>42767</c:v>
                </c:pt>
                <c:pt idx="23" formatCode="m/d/yyyy\ h:mm">
                  <c:v>42795</c:v>
                </c:pt>
                <c:pt idx="24" formatCode="m/d/yyyy\ h:mm">
                  <c:v>42826</c:v>
                </c:pt>
                <c:pt idx="25" formatCode="m/d/yyyy\ h:mm">
                  <c:v>42856</c:v>
                </c:pt>
                <c:pt idx="26" formatCode="m/d/yyyy\ h:mm">
                  <c:v>42887</c:v>
                </c:pt>
                <c:pt idx="27" formatCode="m/d/yyyy\ h:mm">
                  <c:v>42917</c:v>
                </c:pt>
                <c:pt idx="28" formatCode="m/d/yyyy\ h:mm">
                  <c:v>42948</c:v>
                </c:pt>
                <c:pt idx="29" formatCode="m/d/yyyy\ h:mm">
                  <c:v>42979</c:v>
                </c:pt>
                <c:pt idx="30" formatCode="m/d/yyyy\ h:mm">
                  <c:v>43009</c:v>
                </c:pt>
                <c:pt idx="31" formatCode="m/d/yyyy\ h:mm">
                  <c:v>43040</c:v>
                </c:pt>
                <c:pt idx="32" formatCode="m/d/yyyy\ h:mm">
                  <c:v>43070</c:v>
                </c:pt>
              </c:numCache>
            </c:numRef>
          </c:cat>
          <c:val>
            <c:numRef>
              <c:f>Sheet2!$B$2:$B$34</c:f>
              <c:numCache>
                <c:formatCode>_(* #,##0_);_(* \(#,##0\);_(* "-"??_);_(@_)</c:formatCode>
                <c:ptCount val="33"/>
                <c:pt idx="0">
                  <c:v>131161</c:v>
                </c:pt>
                <c:pt idx="1">
                  <c:v>129024</c:v>
                </c:pt>
                <c:pt idx="2">
                  <c:v>128916</c:v>
                </c:pt>
                <c:pt idx="3" formatCode="General">
                  <c:v>122058.89397887008</c:v>
                </c:pt>
                <c:pt idx="4" formatCode="General">
                  <c:v>121490.8318756955</c:v>
                </c:pt>
                <c:pt idx="5" formatCode="General">
                  <c:v>121612.92885982247</c:v>
                </c:pt>
                <c:pt idx="6" formatCode="General">
                  <c:v>121506.78259170653</c:v>
                </c:pt>
                <c:pt idx="7" formatCode="General">
                  <c:v>121186.30553030303</c:v>
                </c:pt>
                <c:pt idx="8" formatCode="General">
                  <c:v>120519.89</c:v>
                </c:pt>
                <c:pt idx="9" formatCode="General">
                  <c:v>121389.80166666665</c:v>
                </c:pt>
                <c:pt idx="10" formatCode="General">
                  <c:v>123842.24916666666</c:v>
                </c:pt>
                <c:pt idx="11" formatCode="General">
                  <c:v>125922.52500000001</c:v>
                </c:pt>
                <c:pt idx="12" formatCode="General">
                  <c:v>125319.55250000001</c:v>
                </c:pt>
                <c:pt idx="13" formatCode="General">
                  <c:v>125205.44083333334</c:v>
                </c:pt>
                <c:pt idx="14" formatCode="General">
                  <c:v>126021.4975</c:v>
                </c:pt>
                <c:pt idx="15" formatCode="General">
                  <c:v>126534.73583333332</c:v>
                </c:pt>
                <c:pt idx="16" formatCode="General">
                  <c:v>126521.84416666668</c:v>
                </c:pt>
                <c:pt idx="17" formatCode="General">
                  <c:v>126223.09249999998</c:v>
                </c:pt>
                <c:pt idx="18" formatCode="General">
                  <c:v>125734.02499999998</c:v>
                </c:pt>
                <c:pt idx="19" formatCode="General">
                  <c:v>125516.86833333333</c:v>
                </c:pt>
                <c:pt idx="20" formatCode="General">
                  <c:v>125723.27083333333</c:v>
                </c:pt>
                <c:pt idx="21" formatCode="General">
                  <c:v>125325.42416666665</c:v>
                </c:pt>
                <c:pt idx="22" formatCode="General">
                  <c:v>125710.43666666665</c:v>
                </c:pt>
                <c:pt idx="23" formatCode="General">
                  <c:v>125595.40166666667</c:v>
                </c:pt>
                <c:pt idx="24" formatCode="General">
                  <c:v>125784.25083333334</c:v>
                </c:pt>
                <c:pt idx="25" formatCode="General">
                  <c:v>125970.86</c:v>
                </c:pt>
                <c:pt idx="26" formatCode="General">
                  <c:v>125259.14416666665</c:v>
                </c:pt>
                <c:pt idx="27" formatCode="General">
                  <c:v>124763.5775</c:v>
                </c:pt>
                <c:pt idx="28" formatCode="General">
                  <c:v>124794.60666666667</c:v>
                </c:pt>
                <c:pt idx="29" formatCode="General">
                  <c:v>124754.90499999998</c:v>
                </c:pt>
                <c:pt idx="30" formatCode="General">
                  <c:v>124777.20083333335</c:v>
                </c:pt>
                <c:pt idx="31" formatCode="General">
                  <c:v>124776.06583333334</c:v>
                </c:pt>
                <c:pt idx="32" formatCode="General">
                  <c:v>124586.488333333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B4-45A9-B0D4-1A7698320B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178136"/>
        <c:axId val="482178464"/>
      </c:lineChart>
      <c:dateAx>
        <c:axId val="48217813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2178464"/>
        <c:crosses val="autoZero"/>
        <c:auto val="1"/>
        <c:lblOffset val="100"/>
        <c:baseTimeUnit val="months"/>
      </c:dateAx>
      <c:valAx>
        <c:axId val="48217846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2178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Heavy Rail 12-Month Rolling Average by Day Typ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ies1!$F$2</c:f>
              <c:strCache>
                <c:ptCount val="1"/>
                <c:pt idx="0">
                  <c:v>Weekday Rolling Av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3</c:f>
              <c:strCache>
                <c:ptCount val="48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</c:strCache>
            </c:strRef>
          </c:cat>
          <c:val>
            <c:numRef>
              <c:f>summaries1!$F$6:$F$53</c:f>
              <c:numCache>
                <c:formatCode>_(* #,##0_);_(* \(#,##0\);_(* "-"??_);_(@_)</c:formatCode>
                <c:ptCount val="48"/>
                <c:pt idx="0">
                  <c:v>503864.99441596417</c:v>
                </c:pt>
                <c:pt idx="1">
                  <c:v>505082.49297296279</c:v>
                </c:pt>
                <c:pt idx="2">
                  <c:v>505734.3719412167</c:v>
                </c:pt>
                <c:pt idx="3">
                  <c:v>506996.05375939846</c:v>
                </c:pt>
                <c:pt idx="4">
                  <c:v>505821.45148667117</c:v>
                </c:pt>
                <c:pt idx="5">
                  <c:v>506377.1489073062</c:v>
                </c:pt>
                <c:pt idx="6">
                  <c:v>505539.1278269373</c:v>
                </c:pt>
                <c:pt idx="7">
                  <c:v>503760.24449360394</c:v>
                </c:pt>
                <c:pt idx="8">
                  <c:v>503815.2123868218</c:v>
                </c:pt>
                <c:pt idx="9">
                  <c:v>501581.96000586939</c:v>
                </c:pt>
                <c:pt idx="10">
                  <c:v>494303.62228657119</c:v>
                </c:pt>
                <c:pt idx="11">
                  <c:v>493588.48776276171</c:v>
                </c:pt>
                <c:pt idx="12">
                  <c:v>490601.05215670104</c:v>
                </c:pt>
                <c:pt idx="13">
                  <c:v>488238.76247416134</c:v>
                </c:pt>
                <c:pt idx="14">
                  <c:v>488155.42517257406</c:v>
                </c:pt>
                <c:pt idx="15">
                  <c:v>487663.6262595306</c:v>
                </c:pt>
                <c:pt idx="16">
                  <c:v>489246.30717583653</c:v>
                </c:pt>
                <c:pt idx="17">
                  <c:v>488977.72781075723</c:v>
                </c:pt>
                <c:pt idx="18">
                  <c:v>487216.11186872813</c:v>
                </c:pt>
                <c:pt idx="19">
                  <c:v>488930.68270206149</c:v>
                </c:pt>
                <c:pt idx="20">
                  <c:v>487835.3128074634</c:v>
                </c:pt>
                <c:pt idx="21">
                  <c:v>488852.03364079661</c:v>
                </c:pt>
                <c:pt idx="22">
                  <c:v>495332.71521974402</c:v>
                </c:pt>
                <c:pt idx="23">
                  <c:v>495442.67691746651</c:v>
                </c:pt>
                <c:pt idx="24">
                  <c:v>495219.78676595143</c:v>
                </c:pt>
                <c:pt idx="25">
                  <c:v>495982.56851198309</c:v>
                </c:pt>
                <c:pt idx="26">
                  <c:v>495532.46623925579</c:v>
                </c:pt>
                <c:pt idx="27">
                  <c:v>493265.71951737878</c:v>
                </c:pt>
                <c:pt idx="28">
                  <c:v>492450.60167748918</c:v>
                </c:pt>
                <c:pt idx="29">
                  <c:v>491075.57786796539</c:v>
                </c:pt>
                <c:pt idx="30">
                  <c:v>491356.51972441812</c:v>
                </c:pt>
                <c:pt idx="31">
                  <c:v>490213.78083552909</c:v>
                </c:pt>
                <c:pt idx="32">
                  <c:v>487854.45837176102</c:v>
                </c:pt>
                <c:pt idx="33">
                  <c:v>489263.09587176103</c:v>
                </c:pt>
                <c:pt idx="34">
                  <c:v>487811.24324018211</c:v>
                </c:pt>
                <c:pt idx="35">
                  <c:v>485563.57295032707</c:v>
                </c:pt>
                <c:pt idx="36">
                  <c:v>484877.27713503124</c:v>
                </c:pt>
                <c:pt idx="37">
                  <c:v>484260.13121151034</c:v>
                </c:pt>
                <c:pt idx="38">
                  <c:v>483513.39636302547</c:v>
                </c:pt>
                <c:pt idx="39">
                  <c:v>484257.73366461275</c:v>
                </c:pt>
                <c:pt idx="40">
                  <c:v>484025.21554867068</c:v>
                </c:pt>
                <c:pt idx="41">
                  <c:v>483865.13796930568</c:v>
                </c:pt>
                <c:pt idx="42">
                  <c:v>483826.96192312957</c:v>
                </c:pt>
                <c:pt idx="43">
                  <c:v>483584.06509773288</c:v>
                </c:pt>
                <c:pt idx="44">
                  <c:v>485057.95821367484</c:v>
                </c:pt>
                <c:pt idx="45">
                  <c:v>481863.16972161137</c:v>
                </c:pt>
                <c:pt idx="46">
                  <c:v>481894.5644584535</c:v>
                </c:pt>
                <c:pt idx="47">
                  <c:v>480960.349241062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0C6-4A12-BF91-6A3CFFCBA94D}"/>
            </c:ext>
          </c:extLst>
        </c:ser>
        <c:ser>
          <c:idx val="1"/>
          <c:order val="1"/>
          <c:tx>
            <c:strRef>
              <c:f>summaries1!$H$2</c:f>
              <c:strCache>
                <c:ptCount val="1"/>
                <c:pt idx="0">
                  <c:v>Saturday Rolling Av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3</c:f>
              <c:strCache>
                <c:ptCount val="48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</c:strCache>
            </c:strRef>
          </c:cat>
          <c:val>
            <c:numRef>
              <c:f>summaries1!$H$6:$H$53</c:f>
              <c:numCache>
                <c:formatCode>_(* #,##0_);_(* \(#,##0\);_(* "-"??_);_(@_)</c:formatCode>
                <c:ptCount val="48"/>
                <c:pt idx="0">
                  <c:v>302633.38472222222</c:v>
                </c:pt>
                <c:pt idx="1">
                  <c:v>302976.58472222224</c:v>
                </c:pt>
                <c:pt idx="2">
                  <c:v>303765.05138888885</c:v>
                </c:pt>
                <c:pt idx="3">
                  <c:v>304787.59305555554</c:v>
                </c:pt>
                <c:pt idx="4">
                  <c:v>304910.6097222222</c:v>
                </c:pt>
                <c:pt idx="5">
                  <c:v>304095.69305555552</c:v>
                </c:pt>
                <c:pt idx="6">
                  <c:v>302701.90138888889</c:v>
                </c:pt>
                <c:pt idx="7">
                  <c:v>299090.56805555557</c:v>
                </c:pt>
                <c:pt idx="8">
                  <c:v>298160.75555555557</c:v>
                </c:pt>
                <c:pt idx="9">
                  <c:v>297462.90138888889</c:v>
                </c:pt>
                <c:pt idx="10">
                  <c:v>290281.42638888891</c:v>
                </c:pt>
                <c:pt idx="11">
                  <c:v>283087.63750000001</c:v>
                </c:pt>
                <c:pt idx="12">
                  <c:v>282481.72083333333</c:v>
                </c:pt>
                <c:pt idx="13">
                  <c:v>281803.10416666669</c:v>
                </c:pt>
                <c:pt idx="14">
                  <c:v>281577.70833333331</c:v>
                </c:pt>
                <c:pt idx="15">
                  <c:v>288725.59722222219</c:v>
                </c:pt>
                <c:pt idx="16">
                  <c:v>287680.54722222226</c:v>
                </c:pt>
                <c:pt idx="17">
                  <c:v>287437.27638888889</c:v>
                </c:pt>
                <c:pt idx="18">
                  <c:v>287045.17638888891</c:v>
                </c:pt>
                <c:pt idx="19">
                  <c:v>281496.12638888886</c:v>
                </c:pt>
                <c:pt idx="20">
                  <c:v>281931.45972222224</c:v>
                </c:pt>
                <c:pt idx="21">
                  <c:v>280679.49305555556</c:v>
                </c:pt>
                <c:pt idx="22">
                  <c:v>285985.11388888885</c:v>
                </c:pt>
                <c:pt idx="23">
                  <c:v>290893.24305555556</c:v>
                </c:pt>
                <c:pt idx="24">
                  <c:v>288083.84305555554</c:v>
                </c:pt>
                <c:pt idx="25">
                  <c:v>282036.64305555559</c:v>
                </c:pt>
                <c:pt idx="26">
                  <c:v>280044.26805555559</c:v>
                </c:pt>
                <c:pt idx="27">
                  <c:v>270886.09583333338</c:v>
                </c:pt>
                <c:pt idx="28">
                  <c:v>269445.53750000003</c:v>
                </c:pt>
                <c:pt idx="29">
                  <c:v>267277.45416666666</c:v>
                </c:pt>
                <c:pt idx="30">
                  <c:v>264993.50416666665</c:v>
                </c:pt>
                <c:pt idx="31">
                  <c:v>268926.55833333335</c:v>
                </c:pt>
                <c:pt idx="32">
                  <c:v>265599.40000000002</c:v>
                </c:pt>
                <c:pt idx="33">
                  <c:v>263589.55</c:v>
                </c:pt>
                <c:pt idx="34">
                  <c:v>262228.13333333336</c:v>
                </c:pt>
                <c:pt idx="35">
                  <c:v>258845.86250000002</c:v>
                </c:pt>
                <c:pt idx="36">
                  <c:v>258172.62916666668</c:v>
                </c:pt>
                <c:pt idx="37">
                  <c:v>261478.57916666663</c:v>
                </c:pt>
                <c:pt idx="38">
                  <c:v>263114.66249999998</c:v>
                </c:pt>
                <c:pt idx="39">
                  <c:v>263225.72916666669</c:v>
                </c:pt>
                <c:pt idx="40">
                  <c:v>263185.70833333331</c:v>
                </c:pt>
                <c:pt idx="41">
                  <c:v>261254.48333333331</c:v>
                </c:pt>
                <c:pt idx="42">
                  <c:v>260619.09583333333</c:v>
                </c:pt>
                <c:pt idx="43">
                  <c:v>258351.47083333333</c:v>
                </c:pt>
                <c:pt idx="44">
                  <c:v>257422.4375</c:v>
                </c:pt>
                <c:pt idx="45">
                  <c:v>258327.37916666665</c:v>
                </c:pt>
                <c:pt idx="46">
                  <c:v>257774.42083333331</c:v>
                </c:pt>
                <c:pt idx="47">
                  <c:v>260275.7125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0C6-4A12-BF91-6A3CFFCBA94D}"/>
            </c:ext>
          </c:extLst>
        </c:ser>
        <c:ser>
          <c:idx val="2"/>
          <c:order val="2"/>
          <c:tx>
            <c:strRef>
              <c:f>summaries1!$J$2</c:f>
              <c:strCache>
                <c:ptCount val="1"/>
                <c:pt idx="0">
                  <c:v>Sunday Rolling Av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3</c:f>
              <c:strCache>
                <c:ptCount val="48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</c:strCache>
            </c:strRef>
          </c:cat>
          <c:val>
            <c:numRef>
              <c:f>summaries1!$J$6:$J$53</c:f>
              <c:numCache>
                <c:formatCode>_(* #,##0_);_(* \(#,##0\);_(* "-"??_);_(@_)</c:formatCode>
                <c:ptCount val="48"/>
                <c:pt idx="0">
                  <c:v>210948.02916666667</c:v>
                </c:pt>
                <c:pt idx="1">
                  <c:v>211012.61250000002</c:v>
                </c:pt>
                <c:pt idx="2">
                  <c:v>211263.69583333333</c:v>
                </c:pt>
                <c:pt idx="3">
                  <c:v>211484.88333333333</c:v>
                </c:pt>
                <c:pt idx="4">
                  <c:v>211719.80833333335</c:v>
                </c:pt>
                <c:pt idx="5">
                  <c:v>208818.67500000002</c:v>
                </c:pt>
                <c:pt idx="6">
                  <c:v>209615.82083333333</c:v>
                </c:pt>
                <c:pt idx="7">
                  <c:v>208924.79583333337</c:v>
                </c:pt>
                <c:pt idx="8">
                  <c:v>206771.59583333333</c:v>
                </c:pt>
                <c:pt idx="9">
                  <c:v>206138.51249999998</c:v>
                </c:pt>
                <c:pt idx="10">
                  <c:v>200632.99166666661</c:v>
                </c:pt>
                <c:pt idx="11">
                  <c:v>200004.77499999999</c:v>
                </c:pt>
                <c:pt idx="12">
                  <c:v>200279.67083333331</c:v>
                </c:pt>
                <c:pt idx="13">
                  <c:v>199904.72499999998</c:v>
                </c:pt>
                <c:pt idx="14">
                  <c:v>195082.54166666666</c:v>
                </c:pt>
                <c:pt idx="15">
                  <c:v>195203.58333333334</c:v>
                </c:pt>
                <c:pt idx="16">
                  <c:v>194748.30000000002</c:v>
                </c:pt>
                <c:pt idx="17">
                  <c:v>198282.93333333332</c:v>
                </c:pt>
                <c:pt idx="18">
                  <c:v>197258.43333333332</c:v>
                </c:pt>
                <c:pt idx="19">
                  <c:v>196834.94999999998</c:v>
                </c:pt>
                <c:pt idx="20">
                  <c:v>200020.77083333334</c:v>
                </c:pt>
                <c:pt idx="21">
                  <c:v>198584.00416666665</c:v>
                </c:pt>
                <c:pt idx="22">
                  <c:v>199681.78333333333</c:v>
                </c:pt>
                <c:pt idx="23">
                  <c:v>199118.85833333331</c:v>
                </c:pt>
                <c:pt idx="24">
                  <c:v>198380.94166666665</c:v>
                </c:pt>
                <c:pt idx="25">
                  <c:v>196576.7416666667</c:v>
                </c:pt>
                <c:pt idx="26">
                  <c:v>199681.75</c:v>
                </c:pt>
                <c:pt idx="27">
                  <c:v>199161.85833333331</c:v>
                </c:pt>
                <c:pt idx="28">
                  <c:v>194795.60833333337</c:v>
                </c:pt>
                <c:pt idx="29">
                  <c:v>193390.50416666665</c:v>
                </c:pt>
                <c:pt idx="30">
                  <c:v>191657.75</c:v>
                </c:pt>
                <c:pt idx="31">
                  <c:v>191485.00833333333</c:v>
                </c:pt>
                <c:pt idx="32">
                  <c:v>188975.6333333333</c:v>
                </c:pt>
                <c:pt idx="33">
                  <c:v>190000.9</c:v>
                </c:pt>
                <c:pt idx="34">
                  <c:v>192448.35</c:v>
                </c:pt>
                <c:pt idx="35">
                  <c:v>191056.47500000001</c:v>
                </c:pt>
                <c:pt idx="36">
                  <c:v>190852.49166666667</c:v>
                </c:pt>
                <c:pt idx="37">
                  <c:v>187311.875</c:v>
                </c:pt>
                <c:pt idx="38">
                  <c:v>189106.83333333334</c:v>
                </c:pt>
                <c:pt idx="39">
                  <c:v>189759.26666666669</c:v>
                </c:pt>
                <c:pt idx="40">
                  <c:v>193633.08333333334</c:v>
                </c:pt>
                <c:pt idx="41">
                  <c:v>193061.10416666666</c:v>
                </c:pt>
                <c:pt idx="42">
                  <c:v>192738.38749999998</c:v>
                </c:pt>
                <c:pt idx="43">
                  <c:v>191806.38749999998</c:v>
                </c:pt>
                <c:pt idx="44">
                  <c:v>191649.35833333331</c:v>
                </c:pt>
                <c:pt idx="45">
                  <c:v>190196.67083333331</c:v>
                </c:pt>
                <c:pt idx="46">
                  <c:v>189011.06666666665</c:v>
                </c:pt>
                <c:pt idx="47">
                  <c:v>189232.69166666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0C6-4A12-BF91-6A3CFFCBA9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87495944"/>
        <c:axId val="587493320"/>
      </c:lineChart>
      <c:catAx>
        <c:axId val="587495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493320"/>
        <c:crosses val="autoZero"/>
        <c:auto val="1"/>
        <c:lblAlgn val="ctr"/>
        <c:lblOffset val="100"/>
        <c:noMultiLvlLbl val="0"/>
      </c:catAx>
      <c:valAx>
        <c:axId val="587493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495944"/>
        <c:crosses val="autoZero"/>
        <c:crossBetween val="between"/>
        <c:majorUnit val="5000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us 12-Month</a:t>
            </a:r>
            <a:r>
              <a:rPr lang="en-US" baseline="0"/>
              <a:t> Rolling Average by Day Typ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ummaries1!$L$2</c:f>
              <c:strCache>
                <c:ptCount val="1"/>
                <c:pt idx="0">
                  <c:v>Weekday Rolling Av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3</c:f>
              <c:strCache>
                <c:ptCount val="48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</c:strCache>
            </c:strRef>
          </c:cat>
          <c:val>
            <c:numRef>
              <c:f>summaries1!$L$6:$L$53</c:f>
              <c:numCache>
                <c:formatCode>_(* #,##0_);_(* \(#,##0\);_(* "-"??_);_(@_)</c:formatCode>
                <c:ptCount val="48"/>
                <c:pt idx="0">
                  <c:v>332291.16746981081</c:v>
                </c:pt>
                <c:pt idx="1">
                  <c:v>331976.26902103738</c:v>
                </c:pt>
                <c:pt idx="2">
                  <c:v>331902.18925913266</c:v>
                </c:pt>
                <c:pt idx="3">
                  <c:v>331845.60971367813</c:v>
                </c:pt>
                <c:pt idx="4">
                  <c:v>331406.83680603025</c:v>
                </c:pt>
                <c:pt idx="5">
                  <c:v>330806.30347269692</c:v>
                </c:pt>
                <c:pt idx="6">
                  <c:v>329414.16052144527</c:v>
                </c:pt>
                <c:pt idx="7">
                  <c:v>329031.10196881369</c:v>
                </c:pt>
                <c:pt idx="8">
                  <c:v>329362.13515784685</c:v>
                </c:pt>
                <c:pt idx="9">
                  <c:v>327793.38952292618</c:v>
                </c:pt>
                <c:pt idx="10">
                  <c:v>322804.37197906652</c:v>
                </c:pt>
                <c:pt idx="11">
                  <c:v>322529.6832885904</c:v>
                </c:pt>
                <c:pt idx="12">
                  <c:v>321077.50525828736</c:v>
                </c:pt>
                <c:pt idx="13">
                  <c:v>320523.66696463659</c:v>
                </c:pt>
                <c:pt idx="14">
                  <c:v>319340.57172654133</c:v>
                </c:pt>
                <c:pt idx="15">
                  <c:v>318590.93651573767</c:v>
                </c:pt>
                <c:pt idx="16">
                  <c:v>318237.25000780117</c:v>
                </c:pt>
                <c:pt idx="17">
                  <c:v>317741.0634998646</c:v>
                </c:pt>
                <c:pt idx="18">
                  <c:v>317828.60039051017</c:v>
                </c:pt>
                <c:pt idx="19">
                  <c:v>317930.67144314171</c:v>
                </c:pt>
                <c:pt idx="20">
                  <c:v>316935.86478965031</c:v>
                </c:pt>
                <c:pt idx="21">
                  <c:v>319615.54066684336</c:v>
                </c:pt>
                <c:pt idx="22">
                  <c:v>323657.94636859774</c:v>
                </c:pt>
                <c:pt idx="23">
                  <c:v>323161.3573416826</c:v>
                </c:pt>
                <c:pt idx="24">
                  <c:v>323722.60932580958</c:v>
                </c:pt>
                <c:pt idx="25">
                  <c:v>323309.84047660325</c:v>
                </c:pt>
                <c:pt idx="26">
                  <c:v>323404.93138569413</c:v>
                </c:pt>
                <c:pt idx="27">
                  <c:v>323707.25674801297</c:v>
                </c:pt>
                <c:pt idx="28">
                  <c:v>323790.19722420344</c:v>
                </c:pt>
                <c:pt idx="29">
                  <c:v>323398.64960515581</c:v>
                </c:pt>
                <c:pt idx="30">
                  <c:v>322361.75746951369</c:v>
                </c:pt>
                <c:pt idx="31">
                  <c:v>321501.76619967242</c:v>
                </c:pt>
                <c:pt idx="32">
                  <c:v>320551.0273986184</c:v>
                </c:pt>
                <c:pt idx="33">
                  <c:v>319362.01402142539</c:v>
                </c:pt>
                <c:pt idx="34">
                  <c:v>317504.29691616225</c:v>
                </c:pt>
                <c:pt idx="35">
                  <c:v>315463.6773509449</c:v>
                </c:pt>
                <c:pt idx="36">
                  <c:v>314222.13786681788</c:v>
                </c:pt>
                <c:pt idx="37">
                  <c:v>313035.48815541813</c:v>
                </c:pt>
                <c:pt idx="38">
                  <c:v>312569.77982208482</c:v>
                </c:pt>
                <c:pt idx="39">
                  <c:v>311225.60898875148</c:v>
                </c:pt>
                <c:pt idx="40">
                  <c:v>310627.38072788197</c:v>
                </c:pt>
                <c:pt idx="41">
                  <c:v>309880.53568819939</c:v>
                </c:pt>
                <c:pt idx="42">
                  <c:v>309638.73842990218</c:v>
                </c:pt>
                <c:pt idx="43">
                  <c:v>309045.81779498153</c:v>
                </c:pt>
                <c:pt idx="44">
                  <c:v>308850.81438589061</c:v>
                </c:pt>
                <c:pt idx="45">
                  <c:v>306476.02450493822</c:v>
                </c:pt>
                <c:pt idx="46">
                  <c:v>307380.02450493822</c:v>
                </c:pt>
                <c:pt idx="47">
                  <c:v>307041.917620880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56A-4352-916A-6486974F5C10}"/>
            </c:ext>
          </c:extLst>
        </c:ser>
        <c:ser>
          <c:idx val="1"/>
          <c:order val="1"/>
          <c:tx>
            <c:strRef>
              <c:f>summaries1!$O$2</c:f>
              <c:strCache>
                <c:ptCount val="1"/>
                <c:pt idx="0">
                  <c:v>Saturday Rolling Av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3</c:f>
              <c:strCache>
                <c:ptCount val="48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</c:strCache>
            </c:strRef>
          </c:cat>
          <c:val>
            <c:numRef>
              <c:f>summaries1!$O$6:$O$53</c:f>
              <c:numCache>
                <c:formatCode>_(* #,##0_);_(* \(#,##0\);_(* "-"??_);_(@_)</c:formatCode>
                <c:ptCount val="48"/>
                <c:pt idx="0">
                  <c:v>176372.12361111111</c:v>
                </c:pt>
                <c:pt idx="1">
                  <c:v>176609.60277777779</c:v>
                </c:pt>
                <c:pt idx="2">
                  <c:v>176716.2819444444</c:v>
                </c:pt>
                <c:pt idx="3">
                  <c:v>176767.26111111106</c:v>
                </c:pt>
                <c:pt idx="4">
                  <c:v>176382.44444444447</c:v>
                </c:pt>
                <c:pt idx="5">
                  <c:v>176145.79861111109</c:v>
                </c:pt>
                <c:pt idx="6">
                  <c:v>175866.73611111109</c:v>
                </c:pt>
                <c:pt idx="7">
                  <c:v>174899.48611111112</c:v>
                </c:pt>
                <c:pt idx="8">
                  <c:v>175241.06944444447</c:v>
                </c:pt>
                <c:pt idx="9">
                  <c:v>174920.20694444445</c:v>
                </c:pt>
                <c:pt idx="10">
                  <c:v>173624.29027777779</c:v>
                </c:pt>
                <c:pt idx="11">
                  <c:v>172676.63749999998</c:v>
                </c:pt>
                <c:pt idx="12">
                  <c:v>172846.19999999998</c:v>
                </c:pt>
                <c:pt idx="13">
                  <c:v>172729.78333333333</c:v>
                </c:pt>
                <c:pt idx="14">
                  <c:v>172354.61666666667</c:v>
                </c:pt>
                <c:pt idx="15">
                  <c:v>174612.92916666667</c:v>
                </c:pt>
                <c:pt idx="16">
                  <c:v>174070.39583333334</c:v>
                </c:pt>
                <c:pt idx="17">
                  <c:v>173683.20833333334</c:v>
                </c:pt>
                <c:pt idx="18">
                  <c:v>173218.94583333333</c:v>
                </c:pt>
                <c:pt idx="19">
                  <c:v>172801.77083333334</c:v>
                </c:pt>
                <c:pt idx="20">
                  <c:v>172647.91666666666</c:v>
                </c:pt>
                <c:pt idx="21">
                  <c:v>172502.13333333333</c:v>
                </c:pt>
                <c:pt idx="22">
                  <c:v>172453.84166666667</c:v>
                </c:pt>
                <c:pt idx="23">
                  <c:v>172701.11250000002</c:v>
                </c:pt>
                <c:pt idx="24">
                  <c:v>171790.83333333334</c:v>
                </c:pt>
                <c:pt idx="25">
                  <c:v>171083.29166666666</c:v>
                </c:pt>
                <c:pt idx="26">
                  <c:v>170694.52083333334</c:v>
                </c:pt>
                <c:pt idx="27">
                  <c:v>167678.55416666667</c:v>
                </c:pt>
                <c:pt idx="28">
                  <c:v>167466.80416666667</c:v>
                </c:pt>
                <c:pt idx="29">
                  <c:v>166841.38749999998</c:v>
                </c:pt>
                <c:pt idx="30">
                  <c:v>165711.80416666667</c:v>
                </c:pt>
                <c:pt idx="31">
                  <c:v>165450.76249999998</c:v>
                </c:pt>
                <c:pt idx="32">
                  <c:v>162811.55000000002</c:v>
                </c:pt>
                <c:pt idx="33">
                  <c:v>162285.11250000002</c:v>
                </c:pt>
                <c:pt idx="34">
                  <c:v>161796.65416666667</c:v>
                </c:pt>
                <c:pt idx="35">
                  <c:v>159147.82083333333</c:v>
                </c:pt>
                <c:pt idx="36">
                  <c:v>157646.77083333334</c:v>
                </c:pt>
                <c:pt idx="37">
                  <c:v>156557</c:v>
                </c:pt>
                <c:pt idx="38">
                  <c:v>155617.4375</c:v>
                </c:pt>
                <c:pt idx="39">
                  <c:v>154660.98750000002</c:v>
                </c:pt>
                <c:pt idx="40">
                  <c:v>153826.84166666667</c:v>
                </c:pt>
                <c:pt idx="41">
                  <c:v>152747.23333333334</c:v>
                </c:pt>
                <c:pt idx="42">
                  <c:v>153353.22500000001</c:v>
                </c:pt>
                <c:pt idx="43">
                  <c:v>152556.03750000001</c:v>
                </c:pt>
                <c:pt idx="44">
                  <c:v>152458.95416666666</c:v>
                </c:pt>
                <c:pt idx="45">
                  <c:v>151621.47500000001</c:v>
                </c:pt>
                <c:pt idx="46">
                  <c:v>151191.87083333332</c:v>
                </c:pt>
                <c:pt idx="47">
                  <c:v>152155.9916666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6A-4352-916A-6486974F5C10}"/>
            </c:ext>
          </c:extLst>
        </c:ser>
        <c:ser>
          <c:idx val="2"/>
          <c:order val="2"/>
          <c:tx>
            <c:strRef>
              <c:f>summaries1!$Q$2</c:f>
              <c:strCache>
                <c:ptCount val="1"/>
                <c:pt idx="0">
                  <c:v>Sunday Rolling Av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ummaries1!$D$6:$D$53</c:f>
              <c:strCache>
                <c:ptCount val="48"/>
                <c:pt idx="0">
                  <c:v>Apr 2014</c:v>
                </c:pt>
                <c:pt idx="1">
                  <c:v>May 2014</c:v>
                </c:pt>
                <c:pt idx="2">
                  <c:v>Jun 2014</c:v>
                </c:pt>
                <c:pt idx="3">
                  <c:v>Jul 2014</c:v>
                </c:pt>
                <c:pt idx="4">
                  <c:v>Aug 2014</c:v>
                </c:pt>
                <c:pt idx="5">
                  <c:v>Sep 2014</c:v>
                </c:pt>
                <c:pt idx="6">
                  <c:v>Oct 2014</c:v>
                </c:pt>
                <c:pt idx="7">
                  <c:v>Nov 2014</c:v>
                </c:pt>
                <c:pt idx="8">
                  <c:v>Dec 2014</c:v>
                </c:pt>
                <c:pt idx="9">
                  <c:v>Jan 2015</c:v>
                </c:pt>
                <c:pt idx="10">
                  <c:v>Feb 2015</c:v>
                </c:pt>
                <c:pt idx="11">
                  <c:v>Mar 2015</c:v>
                </c:pt>
                <c:pt idx="12">
                  <c:v>Apr 2015</c:v>
                </c:pt>
                <c:pt idx="13">
                  <c:v>May 2015</c:v>
                </c:pt>
                <c:pt idx="14">
                  <c:v>Jun 2015</c:v>
                </c:pt>
                <c:pt idx="15">
                  <c:v>Jul 2015</c:v>
                </c:pt>
                <c:pt idx="16">
                  <c:v>Aug 2015</c:v>
                </c:pt>
                <c:pt idx="17">
                  <c:v>Sep 2015</c:v>
                </c:pt>
                <c:pt idx="18">
                  <c:v>Oct 2015</c:v>
                </c:pt>
                <c:pt idx="19">
                  <c:v>Nov 2015</c:v>
                </c:pt>
                <c:pt idx="20">
                  <c:v>Dec 2015</c:v>
                </c:pt>
                <c:pt idx="21">
                  <c:v>Jan 2016</c:v>
                </c:pt>
                <c:pt idx="22">
                  <c:v>Feb 2016</c:v>
                </c:pt>
                <c:pt idx="23">
                  <c:v>Mar 2016</c:v>
                </c:pt>
                <c:pt idx="24">
                  <c:v>Apr 2016</c:v>
                </c:pt>
                <c:pt idx="25">
                  <c:v>May 2016</c:v>
                </c:pt>
                <c:pt idx="26">
                  <c:v>Jun 2016</c:v>
                </c:pt>
                <c:pt idx="27">
                  <c:v>Jul 2016</c:v>
                </c:pt>
                <c:pt idx="28">
                  <c:v>Aug 2016</c:v>
                </c:pt>
                <c:pt idx="29">
                  <c:v>Sep 2016</c:v>
                </c:pt>
                <c:pt idx="30">
                  <c:v>Oct 2016</c:v>
                </c:pt>
                <c:pt idx="31">
                  <c:v>Nov 2016</c:v>
                </c:pt>
                <c:pt idx="32">
                  <c:v>Dec 2016</c:v>
                </c:pt>
                <c:pt idx="33">
                  <c:v>Jan 2017</c:v>
                </c:pt>
                <c:pt idx="34">
                  <c:v>Feb 2017</c:v>
                </c:pt>
                <c:pt idx="35">
                  <c:v>Mar 2017</c:v>
                </c:pt>
                <c:pt idx="36">
                  <c:v>Apr 2017</c:v>
                </c:pt>
                <c:pt idx="37">
                  <c:v>May 2017</c:v>
                </c:pt>
                <c:pt idx="38">
                  <c:v>Jun 2017</c:v>
                </c:pt>
                <c:pt idx="39">
                  <c:v>Jul 2017</c:v>
                </c:pt>
                <c:pt idx="40">
                  <c:v>Aug 2017</c:v>
                </c:pt>
                <c:pt idx="41">
                  <c:v>Sep 2017</c:v>
                </c:pt>
                <c:pt idx="42">
                  <c:v>Oct 2017</c:v>
                </c:pt>
                <c:pt idx="43">
                  <c:v>Nov 2017</c:v>
                </c:pt>
                <c:pt idx="44">
                  <c:v>Dec 2017</c:v>
                </c:pt>
                <c:pt idx="45">
                  <c:v>Jan 2018</c:v>
                </c:pt>
                <c:pt idx="46">
                  <c:v>Feb 2018</c:v>
                </c:pt>
                <c:pt idx="47">
                  <c:v>Mar 2018</c:v>
                </c:pt>
              </c:strCache>
            </c:strRef>
          </c:cat>
          <c:val>
            <c:numRef>
              <c:f>summaries1!$Q$6:$Q$53</c:f>
              <c:numCache>
                <c:formatCode>_(* #,##0_);_(* \(#,##0\);_(* "-"??_);_(@_)</c:formatCode>
                <c:ptCount val="48"/>
                <c:pt idx="0">
                  <c:v>108904.50833333335</c:v>
                </c:pt>
                <c:pt idx="1">
                  <c:v>109031.34166666666</c:v>
                </c:pt>
                <c:pt idx="2">
                  <c:v>109188.52500000001</c:v>
                </c:pt>
                <c:pt idx="3">
                  <c:v>108997.94166666667</c:v>
                </c:pt>
                <c:pt idx="4">
                  <c:v>108972.04583333334</c:v>
                </c:pt>
                <c:pt idx="5">
                  <c:v>109605.27083333333</c:v>
                </c:pt>
                <c:pt idx="6">
                  <c:v>110320.27083333333</c:v>
                </c:pt>
                <c:pt idx="7">
                  <c:v>110437.10833333334</c:v>
                </c:pt>
                <c:pt idx="8">
                  <c:v>111284.08333333336</c:v>
                </c:pt>
                <c:pt idx="9">
                  <c:v>111322.875</c:v>
                </c:pt>
                <c:pt idx="10">
                  <c:v>108541.22916666667</c:v>
                </c:pt>
                <c:pt idx="11">
                  <c:v>108716.52916666667</c:v>
                </c:pt>
                <c:pt idx="12">
                  <c:v>108903.40416666667</c:v>
                </c:pt>
                <c:pt idx="13">
                  <c:v>108998.14583333333</c:v>
                </c:pt>
                <c:pt idx="14">
                  <c:v>108042.45416666666</c:v>
                </c:pt>
                <c:pt idx="15">
                  <c:v>108037.99583333333</c:v>
                </c:pt>
                <c:pt idx="16">
                  <c:v>107790.69583333335</c:v>
                </c:pt>
                <c:pt idx="17">
                  <c:v>107560.4875</c:v>
                </c:pt>
                <c:pt idx="18">
                  <c:v>106922.65416666667</c:v>
                </c:pt>
                <c:pt idx="19">
                  <c:v>106758.42083333334</c:v>
                </c:pt>
                <c:pt idx="20">
                  <c:v>106515.35833333334</c:v>
                </c:pt>
                <c:pt idx="21">
                  <c:v>105940.3625</c:v>
                </c:pt>
                <c:pt idx="22">
                  <c:v>107819.50833333335</c:v>
                </c:pt>
                <c:pt idx="23">
                  <c:v>107328.19583333335</c:v>
                </c:pt>
                <c:pt idx="24">
                  <c:v>107066.175</c:v>
                </c:pt>
                <c:pt idx="25">
                  <c:v>106430.65833333334</c:v>
                </c:pt>
                <c:pt idx="26">
                  <c:v>106801.74166666668</c:v>
                </c:pt>
                <c:pt idx="27">
                  <c:v>106770.17083333334</c:v>
                </c:pt>
                <c:pt idx="28">
                  <c:v>106814.72083333333</c:v>
                </c:pt>
                <c:pt idx="29">
                  <c:v>106432.84583333333</c:v>
                </c:pt>
                <c:pt idx="30">
                  <c:v>105697.82083333332</c:v>
                </c:pt>
                <c:pt idx="31">
                  <c:v>105348.46666666666</c:v>
                </c:pt>
                <c:pt idx="32">
                  <c:v>103992.15416666667</c:v>
                </c:pt>
                <c:pt idx="33">
                  <c:v>103302.83749999998</c:v>
                </c:pt>
                <c:pt idx="34">
                  <c:v>103107.56666666665</c:v>
                </c:pt>
                <c:pt idx="35">
                  <c:v>102166.33749999998</c:v>
                </c:pt>
                <c:pt idx="36">
                  <c:v>101792.325</c:v>
                </c:pt>
                <c:pt idx="37">
                  <c:v>101150.30833333333</c:v>
                </c:pt>
                <c:pt idx="38">
                  <c:v>101022.03750000002</c:v>
                </c:pt>
                <c:pt idx="39">
                  <c:v>100705.05416666665</c:v>
                </c:pt>
                <c:pt idx="40">
                  <c:v>100384.30416666665</c:v>
                </c:pt>
                <c:pt idx="41">
                  <c:v>99822.512499999997</c:v>
                </c:pt>
                <c:pt idx="42">
                  <c:v>100065.29583333334</c:v>
                </c:pt>
                <c:pt idx="43">
                  <c:v>99884.379166666666</c:v>
                </c:pt>
                <c:pt idx="44">
                  <c:v>99809.845833333326</c:v>
                </c:pt>
                <c:pt idx="45">
                  <c:v>99688.512499999997</c:v>
                </c:pt>
                <c:pt idx="46">
                  <c:v>99092.2</c:v>
                </c:pt>
                <c:pt idx="47">
                  <c:v>99355.554166666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6A-4352-916A-6486974F5C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4378672"/>
        <c:axId val="606934112"/>
      </c:lineChart>
      <c:catAx>
        <c:axId val="394378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6934112"/>
        <c:crosses val="autoZero"/>
        <c:auto val="1"/>
        <c:lblAlgn val="ctr"/>
        <c:lblOffset val="100"/>
        <c:noMultiLvlLbl val="0"/>
      </c:catAx>
      <c:valAx>
        <c:axId val="606934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4378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12-month rolling averages, weekend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5694043211485979E-2"/>
          <c:y val="0.10071961982348948"/>
          <c:w val="0.91430595678851401"/>
          <c:h val="0.74433557312464249"/>
        </c:manualLayout>
      </c:layout>
      <c:lineChart>
        <c:grouping val="standard"/>
        <c:varyColors val="0"/>
        <c:ser>
          <c:idx val="0"/>
          <c:order val="0"/>
          <c:tx>
            <c:v>Heavy Rail Saturdays</c:v>
          </c:tx>
          <c:spPr>
            <a:ln w="28575" cap="rnd">
              <a:solidFill>
                <a:srgbClr val="CCCCFF">
                  <a:lumMod val="50000"/>
                </a:srgbClr>
              </a:solidFill>
              <a:round/>
            </a:ln>
            <a:effectLst/>
          </c:spPr>
          <c:marker>
            <c:symbol val="none"/>
          </c:marker>
          <c:cat>
            <c:strRef>
              <c:f>summaries1!$D$39:$D$53</c:f>
              <c:strCache>
                <c:ptCount val="15"/>
                <c:pt idx="0">
                  <c:v>Jan 2017</c:v>
                </c:pt>
                <c:pt idx="1">
                  <c:v>Feb 2017</c:v>
                </c:pt>
                <c:pt idx="2">
                  <c:v>Mar 2017</c:v>
                </c:pt>
                <c:pt idx="3">
                  <c:v>Apr 2017</c:v>
                </c:pt>
                <c:pt idx="4">
                  <c:v>May 2017</c:v>
                </c:pt>
                <c:pt idx="5">
                  <c:v>Jun 2017</c:v>
                </c:pt>
                <c:pt idx="6">
                  <c:v>Jul 2017</c:v>
                </c:pt>
                <c:pt idx="7">
                  <c:v>Aug 2017</c:v>
                </c:pt>
                <c:pt idx="8">
                  <c:v>Sep 2017</c:v>
                </c:pt>
                <c:pt idx="9">
                  <c:v>Oct 2017</c:v>
                </c:pt>
                <c:pt idx="10">
                  <c:v>Nov 2017</c:v>
                </c:pt>
                <c:pt idx="11">
                  <c:v>Dec 2017</c:v>
                </c:pt>
                <c:pt idx="12">
                  <c:v>Jan 2018</c:v>
                </c:pt>
                <c:pt idx="13">
                  <c:v>Feb 2018</c:v>
                </c:pt>
                <c:pt idx="14">
                  <c:v>Mar 2018</c:v>
                </c:pt>
              </c:strCache>
            </c:strRef>
          </c:cat>
          <c:val>
            <c:numRef>
              <c:f>summaries1!$H$39:$H$53</c:f>
              <c:numCache>
                <c:formatCode>_(* #,##0_);_(* \(#,##0\);_(* "-"??_);_(@_)</c:formatCode>
                <c:ptCount val="15"/>
                <c:pt idx="0">
                  <c:v>263589.55</c:v>
                </c:pt>
                <c:pt idx="1">
                  <c:v>262228.13333333336</c:v>
                </c:pt>
                <c:pt idx="2">
                  <c:v>258845.86250000002</c:v>
                </c:pt>
                <c:pt idx="3">
                  <c:v>258172.62916666668</c:v>
                </c:pt>
                <c:pt idx="4">
                  <c:v>261478.57916666663</c:v>
                </c:pt>
                <c:pt idx="5">
                  <c:v>263114.66249999998</c:v>
                </c:pt>
                <c:pt idx="6">
                  <c:v>263225.72916666669</c:v>
                </c:pt>
                <c:pt idx="7">
                  <c:v>263185.70833333331</c:v>
                </c:pt>
                <c:pt idx="8">
                  <c:v>261254.48333333331</c:v>
                </c:pt>
                <c:pt idx="9">
                  <c:v>260619.09583333333</c:v>
                </c:pt>
                <c:pt idx="10">
                  <c:v>258351.47083333333</c:v>
                </c:pt>
                <c:pt idx="11">
                  <c:v>257422.4375</c:v>
                </c:pt>
                <c:pt idx="12">
                  <c:v>258327.37916666665</c:v>
                </c:pt>
                <c:pt idx="13">
                  <c:v>257774.42083333331</c:v>
                </c:pt>
                <c:pt idx="14">
                  <c:v>260275.7125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77B-4379-9509-6D271B00B376}"/>
            </c:ext>
          </c:extLst>
        </c:ser>
        <c:ser>
          <c:idx val="1"/>
          <c:order val="1"/>
          <c:tx>
            <c:v>Heavy Rail Sundays</c:v>
          </c:tx>
          <c:spPr>
            <a:ln w="28575" cap="rnd">
              <a:solidFill>
                <a:srgbClr val="00269E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ummaries1!$D$39:$D$53</c:f>
              <c:strCache>
                <c:ptCount val="15"/>
                <c:pt idx="0">
                  <c:v>Jan 2017</c:v>
                </c:pt>
                <c:pt idx="1">
                  <c:v>Feb 2017</c:v>
                </c:pt>
                <c:pt idx="2">
                  <c:v>Mar 2017</c:v>
                </c:pt>
                <c:pt idx="3">
                  <c:v>Apr 2017</c:v>
                </c:pt>
                <c:pt idx="4">
                  <c:v>May 2017</c:v>
                </c:pt>
                <c:pt idx="5">
                  <c:v>Jun 2017</c:v>
                </c:pt>
                <c:pt idx="6">
                  <c:v>Jul 2017</c:v>
                </c:pt>
                <c:pt idx="7">
                  <c:v>Aug 2017</c:v>
                </c:pt>
                <c:pt idx="8">
                  <c:v>Sep 2017</c:v>
                </c:pt>
                <c:pt idx="9">
                  <c:v>Oct 2017</c:v>
                </c:pt>
                <c:pt idx="10">
                  <c:v>Nov 2017</c:v>
                </c:pt>
                <c:pt idx="11">
                  <c:v>Dec 2017</c:v>
                </c:pt>
                <c:pt idx="12">
                  <c:v>Jan 2018</c:v>
                </c:pt>
                <c:pt idx="13">
                  <c:v>Feb 2018</c:v>
                </c:pt>
                <c:pt idx="14">
                  <c:v>Mar 2018</c:v>
                </c:pt>
              </c:strCache>
            </c:strRef>
          </c:cat>
          <c:val>
            <c:numRef>
              <c:f>summaries1!$J$39:$J$53</c:f>
              <c:numCache>
                <c:formatCode>_(* #,##0_);_(* \(#,##0\);_(* "-"??_);_(@_)</c:formatCode>
                <c:ptCount val="15"/>
                <c:pt idx="0">
                  <c:v>190000.9</c:v>
                </c:pt>
                <c:pt idx="1">
                  <c:v>192448.35</c:v>
                </c:pt>
                <c:pt idx="2">
                  <c:v>191056.47500000001</c:v>
                </c:pt>
                <c:pt idx="3">
                  <c:v>190852.49166666667</c:v>
                </c:pt>
                <c:pt idx="4">
                  <c:v>187311.875</c:v>
                </c:pt>
                <c:pt idx="5">
                  <c:v>189106.83333333334</c:v>
                </c:pt>
                <c:pt idx="6">
                  <c:v>189759.26666666669</c:v>
                </c:pt>
                <c:pt idx="7">
                  <c:v>193633.08333333334</c:v>
                </c:pt>
                <c:pt idx="8">
                  <c:v>193061.10416666666</c:v>
                </c:pt>
                <c:pt idx="9">
                  <c:v>192738.38749999998</c:v>
                </c:pt>
                <c:pt idx="10">
                  <c:v>191806.38749999998</c:v>
                </c:pt>
                <c:pt idx="11">
                  <c:v>191649.35833333331</c:v>
                </c:pt>
                <c:pt idx="12">
                  <c:v>190196.67083333331</c:v>
                </c:pt>
                <c:pt idx="13">
                  <c:v>189011.06666666665</c:v>
                </c:pt>
                <c:pt idx="14">
                  <c:v>189232.69166666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77B-4379-9509-6D271B00B376}"/>
            </c:ext>
          </c:extLst>
        </c:ser>
        <c:ser>
          <c:idx val="2"/>
          <c:order val="2"/>
          <c:tx>
            <c:v>Bus Saturdays</c:v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summaries1!$D$39:$D$53</c:f>
              <c:strCache>
                <c:ptCount val="15"/>
                <c:pt idx="0">
                  <c:v>Jan 2017</c:v>
                </c:pt>
                <c:pt idx="1">
                  <c:v>Feb 2017</c:v>
                </c:pt>
                <c:pt idx="2">
                  <c:v>Mar 2017</c:v>
                </c:pt>
                <c:pt idx="3">
                  <c:v>Apr 2017</c:v>
                </c:pt>
                <c:pt idx="4">
                  <c:v>May 2017</c:v>
                </c:pt>
                <c:pt idx="5">
                  <c:v>Jun 2017</c:v>
                </c:pt>
                <c:pt idx="6">
                  <c:v>Jul 2017</c:v>
                </c:pt>
                <c:pt idx="7">
                  <c:v>Aug 2017</c:v>
                </c:pt>
                <c:pt idx="8">
                  <c:v>Sep 2017</c:v>
                </c:pt>
                <c:pt idx="9">
                  <c:v>Oct 2017</c:v>
                </c:pt>
                <c:pt idx="10">
                  <c:v>Nov 2017</c:v>
                </c:pt>
                <c:pt idx="11">
                  <c:v>Dec 2017</c:v>
                </c:pt>
                <c:pt idx="12">
                  <c:v>Jan 2018</c:v>
                </c:pt>
                <c:pt idx="13">
                  <c:v>Feb 2018</c:v>
                </c:pt>
                <c:pt idx="14">
                  <c:v>Mar 2018</c:v>
                </c:pt>
              </c:strCache>
            </c:strRef>
          </c:cat>
          <c:val>
            <c:numRef>
              <c:f>summaries1!$O$39:$O$53</c:f>
              <c:numCache>
                <c:formatCode>_(* #,##0_);_(* \(#,##0\);_(* "-"??_);_(@_)</c:formatCode>
                <c:ptCount val="15"/>
                <c:pt idx="0">
                  <c:v>162285.11250000002</c:v>
                </c:pt>
                <c:pt idx="1">
                  <c:v>161796.65416666667</c:v>
                </c:pt>
                <c:pt idx="2">
                  <c:v>159147.82083333333</c:v>
                </c:pt>
                <c:pt idx="3">
                  <c:v>157646.77083333334</c:v>
                </c:pt>
                <c:pt idx="4">
                  <c:v>156557</c:v>
                </c:pt>
                <c:pt idx="5">
                  <c:v>155617.4375</c:v>
                </c:pt>
                <c:pt idx="6">
                  <c:v>154660.98750000002</c:v>
                </c:pt>
                <c:pt idx="7">
                  <c:v>153826.84166666667</c:v>
                </c:pt>
                <c:pt idx="8">
                  <c:v>152747.23333333334</c:v>
                </c:pt>
                <c:pt idx="9">
                  <c:v>153353.22500000001</c:v>
                </c:pt>
                <c:pt idx="10">
                  <c:v>152556.03750000001</c:v>
                </c:pt>
                <c:pt idx="11">
                  <c:v>152458.95416666666</c:v>
                </c:pt>
                <c:pt idx="12">
                  <c:v>151621.47500000001</c:v>
                </c:pt>
                <c:pt idx="13">
                  <c:v>151191.87083333332</c:v>
                </c:pt>
                <c:pt idx="14">
                  <c:v>152155.9916666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77B-4379-9509-6D271B00B376}"/>
            </c:ext>
          </c:extLst>
        </c:ser>
        <c:ser>
          <c:idx val="3"/>
          <c:order val="3"/>
          <c:tx>
            <c:v>Bus Sundays</c:v>
          </c:tx>
          <c:spPr>
            <a:ln w="28575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ummaries1!$D$39:$D$53</c:f>
              <c:strCache>
                <c:ptCount val="15"/>
                <c:pt idx="0">
                  <c:v>Jan 2017</c:v>
                </c:pt>
                <c:pt idx="1">
                  <c:v>Feb 2017</c:v>
                </c:pt>
                <c:pt idx="2">
                  <c:v>Mar 2017</c:v>
                </c:pt>
                <c:pt idx="3">
                  <c:v>Apr 2017</c:v>
                </c:pt>
                <c:pt idx="4">
                  <c:v>May 2017</c:v>
                </c:pt>
                <c:pt idx="5">
                  <c:v>Jun 2017</c:v>
                </c:pt>
                <c:pt idx="6">
                  <c:v>Jul 2017</c:v>
                </c:pt>
                <c:pt idx="7">
                  <c:v>Aug 2017</c:v>
                </c:pt>
                <c:pt idx="8">
                  <c:v>Sep 2017</c:v>
                </c:pt>
                <c:pt idx="9">
                  <c:v>Oct 2017</c:v>
                </c:pt>
                <c:pt idx="10">
                  <c:v>Nov 2017</c:v>
                </c:pt>
                <c:pt idx="11">
                  <c:v>Dec 2017</c:v>
                </c:pt>
                <c:pt idx="12">
                  <c:v>Jan 2018</c:v>
                </c:pt>
                <c:pt idx="13">
                  <c:v>Feb 2018</c:v>
                </c:pt>
                <c:pt idx="14">
                  <c:v>Mar 2018</c:v>
                </c:pt>
              </c:strCache>
            </c:strRef>
          </c:cat>
          <c:val>
            <c:numRef>
              <c:f>summaries1!$Q$39:$Q$53</c:f>
              <c:numCache>
                <c:formatCode>_(* #,##0_);_(* \(#,##0\);_(* "-"??_);_(@_)</c:formatCode>
                <c:ptCount val="15"/>
                <c:pt idx="0">
                  <c:v>103302.83749999998</c:v>
                </c:pt>
                <c:pt idx="1">
                  <c:v>103107.56666666665</c:v>
                </c:pt>
                <c:pt idx="2">
                  <c:v>102166.33749999998</c:v>
                </c:pt>
                <c:pt idx="3">
                  <c:v>101792.325</c:v>
                </c:pt>
                <c:pt idx="4">
                  <c:v>101150.30833333333</c:v>
                </c:pt>
                <c:pt idx="5">
                  <c:v>101022.03750000002</c:v>
                </c:pt>
                <c:pt idx="6">
                  <c:v>100705.05416666665</c:v>
                </c:pt>
                <c:pt idx="7">
                  <c:v>100384.30416666665</c:v>
                </c:pt>
                <c:pt idx="8">
                  <c:v>99822.512499999997</c:v>
                </c:pt>
                <c:pt idx="9">
                  <c:v>100065.29583333334</c:v>
                </c:pt>
                <c:pt idx="10">
                  <c:v>99884.379166666666</c:v>
                </c:pt>
                <c:pt idx="11">
                  <c:v>99809.845833333326</c:v>
                </c:pt>
                <c:pt idx="12">
                  <c:v>99688.512499999997</c:v>
                </c:pt>
                <c:pt idx="13">
                  <c:v>99092.2</c:v>
                </c:pt>
                <c:pt idx="14">
                  <c:v>99355.5541666666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77B-4379-9509-6D271B00B3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65029368"/>
        <c:axId val="600237216"/>
      </c:lineChart>
      <c:catAx>
        <c:axId val="765029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0237216"/>
        <c:crosses val="autoZero"/>
        <c:auto val="1"/>
        <c:lblAlgn val="ctr"/>
        <c:lblOffset val="100"/>
        <c:noMultiLvlLbl val="0"/>
      </c:catAx>
      <c:valAx>
        <c:axId val="600237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5029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y line, indexed to Ja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eakindex!$N$14</c:f>
              <c:strCache>
                <c:ptCount val="1"/>
                <c:pt idx="0">
                  <c:v>Blue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peakindex!$N$15:$N$66</c:f>
              <c:numCache>
                <c:formatCode>General</c:formatCode>
                <c:ptCount val="52"/>
                <c:pt idx="0">
                  <c:v>100</c:v>
                </c:pt>
                <c:pt idx="1">
                  <c:v>100.11726257860548</c:v>
                </c:pt>
                <c:pt idx="2">
                  <c:v>100.52623895504831</c:v>
                </c:pt>
                <c:pt idx="3">
                  <c:v>101.09649722923439</c:v>
                </c:pt>
                <c:pt idx="4">
                  <c:v>101.95168120730852</c:v>
                </c:pt>
                <c:pt idx="5">
                  <c:v>102.29167865696269</c:v>
                </c:pt>
                <c:pt idx="6">
                  <c:v>102.65686670403664</c:v>
                </c:pt>
                <c:pt idx="7">
                  <c:v>103.09074923480932</c:v>
                </c:pt>
                <c:pt idx="8">
                  <c:v>103.26100717869389</c:v>
                </c:pt>
                <c:pt idx="9">
                  <c:v>103.37003746174847</c:v>
                </c:pt>
                <c:pt idx="10">
                  <c:v>103.17638991898639</c:v>
                </c:pt>
                <c:pt idx="11">
                  <c:v>103.19824314177164</c:v>
                </c:pt>
                <c:pt idx="12">
                  <c:v>103.23026087632161</c:v>
                </c:pt>
                <c:pt idx="13">
                  <c:v>102.59550292784789</c:v>
                </c:pt>
                <c:pt idx="14">
                  <c:v>100.98870213295696</c:v>
                </c:pt>
                <c:pt idx="15">
                  <c:v>100.66973583022441</c:v>
                </c:pt>
                <c:pt idx="16">
                  <c:v>100.51820616460255</c:v>
                </c:pt>
                <c:pt idx="17">
                  <c:v>100.69633911177951</c:v>
                </c:pt>
                <c:pt idx="18">
                  <c:v>100.69639406144147</c:v>
                </c:pt>
                <c:pt idx="19">
                  <c:v>100.51488800485502</c:v>
                </c:pt>
                <c:pt idx="20">
                  <c:v>100.6536478468624</c:v>
                </c:pt>
                <c:pt idx="21">
                  <c:v>100.83343119519054</c:v>
                </c:pt>
                <c:pt idx="22">
                  <c:v>100.70984478304099</c:v>
                </c:pt>
                <c:pt idx="23">
                  <c:v>99.747136758790148</c:v>
                </c:pt>
                <c:pt idx="24">
                  <c:v>99.572820486327842</c:v>
                </c:pt>
                <c:pt idx="25">
                  <c:v>100.46401719026734</c:v>
                </c:pt>
                <c:pt idx="26">
                  <c:v>102.02880205273468</c:v>
                </c:pt>
                <c:pt idx="27">
                  <c:v>102.39438350407086</c:v>
                </c:pt>
                <c:pt idx="28">
                  <c:v>102.92182858533761</c:v>
                </c:pt>
                <c:pt idx="29">
                  <c:v>103.22136588216179</c:v>
                </c:pt>
                <c:pt idx="30">
                  <c:v>103.66648681336153</c:v>
                </c:pt>
                <c:pt idx="31">
                  <c:v>104.28474520654399</c:v>
                </c:pt>
                <c:pt idx="32">
                  <c:v>104.73830044341766</c:v>
                </c:pt>
                <c:pt idx="33">
                  <c:v>105.23192281319508</c:v>
                </c:pt>
                <c:pt idx="34">
                  <c:v>106.12052454764107</c:v>
                </c:pt>
                <c:pt idx="35">
                  <c:v>107.90825195189895</c:v>
                </c:pt>
                <c:pt idx="36">
                  <c:v>108.56551841414131</c:v>
                </c:pt>
                <c:pt idx="37">
                  <c:v>109.17890019594527</c:v>
                </c:pt>
                <c:pt idx="38">
                  <c:v>109.47658445688096</c:v>
                </c:pt>
                <c:pt idx="39">
                  <c:v>109.69263572471795</c:v>
                </c:pt>
                <c:pt idx="40">
                  <c:v>110.02954094187368</c:v>
                </c:pt>
                <c:pt idx="41">
                  <c:v>110.31451586154586</c:v>
                </c:pt>
                <c:pt idx="42">
                  <c:v>110.81758479494756</c:v>
                </c:pt>
                <c:pt idx="43">
                  <c:v>110.99338799591357</c:v>
                </c:pt>
                <c:pt idx="44">
                  <c:v>111.32675097504054</c:v>
                </c:pt>
                <c:pt idx="45">
                  <c:v>111.52267041105665</c:v>
                </c:pt>
                <c:pt idx="46">
                  <c:v>112.35577657060477</c:v>
                </c:pt>
                <c:pt idx="47">
                  <c:v>113.04873481190228</c:v>
                </c:pt>
                <c:pt idx="48">
                  <c:v>113.67011801265691</c:v>
                </c:pt>
                <c:pt idx="49">
                  <c:v>113.3919452638554</c:v>
                </c:pt>
                <c:pt idx="50">
                  <c:v>114.22776168659281</c:v>
                </c:pt>
                <c:pt idx="51">
                  <c:v>114.56066276135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7E-4E5A-8920-3B1A1CBF2F78}"/>
            </c:ext>
          </c:extLst>
        </c:ser>
        <c:ser>
          <c:idx val="1"/>
          <c:order val="1"/>
          <c:tx>
            <c:strRef>
              <c:f>peakindex!$O$14</c:f>
              <c:strCache>
                <c:ptCount val="1"/>
                <c:pt idx="0">
                  <c:v>Red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peakindex!$O$15:$O$66</c:f>
              <c:numCache>
                <c:formatCode>General</c:formatCode>
                <c:ptCount val="52"/>
                <c:pt idx="0">
                  <c:v>100</c:v>
                </c:pt>
                <c:pt idx="1">
                  <c:v>99.852209615107185</c:v>
                </c:pt>
                <c:pt idx="2">
                  <c:v>100.15790117353545</c:v>
                </c:pt>
                <c:pt idx="3">
                  <c:v>100.43584640274075</c:v>
                </c:pt>
                <c:pt idx="4">
                  <c:v>100.99927363090499</c:v>
                </c:pt>
                <c:pt idx="5">
                  <c:v>101.26417699809369</c:v>
                </c:pt>
                <c:pt idx="6">
                  <c:v>101.52339394977457</c:v>
                </c:pt>
                <c:pt idx="7">
                  <c:v>101.85705004231413</c:v>
                </c:pt>
                <c:pt idx="8">
                  <c:v>102.08168148271794</c:v>
                </c:pt>
                <c:pt idx="9">
                  <c:v>102.35450897847826</c:v>
                </c:pt>
                <c:pt idx="10">
                  <c:v>102.41007556249355</c:v>
                </c:pt>
                <c:pt idx="11">
                  <c:v>102.74448380489633</c:v>
                </c:pt>
                <c:pt idx="12">
                  <c:v>103.02395571867957</c:v>
                </c:pt>
                <c:pt idx="13">
                  <c:v>102.84689386864456</c:v>
                </c:pt>
                <c:pt idx="14">
                  <c:v>100.99257626851536</c:v>
                </c:pt>
                <c:pt idx="15">
                  <c:v>101.14475988279217</c:v>
                </c:pt>
                <c:pt idx="16">
                  <c:v>100.833980071545</c:v>
                </c:pt>
                <c:pt idx="17">
                  <c:v>101.01496090453747</c:v>
                </c:pt>
                <c:pt idx="18">
                  <c:v>101.22051395832943</c:v>
                </c:pt>
                <c:pt idx="19">
                  <c:v>101.14284689345024</c:v>
                </c:pt>
                <c:pt idx="20">
                  <c:v>101.33538343721733</c:v>
                </c:pt>
                <c:pt idx="21">
                  <c:v>101.4295806923126</c:v>
                </c:pt>
                <c:pt idx="22">
                  <c:v>101.57774689334418</c:v>
                </c:pt>
                <c:pt idx="23">
                  <c:v>101.70222906256706</c:v>
                </c:pt>
                <c:pt idx="24">
                  <c:v>101.42324499871809</c:v>
                </c:pt>
                <c:pt idx="25">
                  <c:v>102.24601573876757</c:v>
                </c:pt>
                <c:pt idx="26">
                  <c:v>104.26370627037784</c:v>
                </c:pt>
                <c:pt idx="27">
                  <c:v>104.20306521826501</c:v>
                </c:pt>
                <c:pt idx="28">
                  <c:v>104.5544886007181</c:v>
                </c:pt>
                <c:pt idx="29">
                  <c:v>104.47344664127797</c:v>
                </c:pt>
                <c:pt idx="30">
                  <c:v>104.47238991738195</c:v>
                </c:pt>
                <c:pt idx="31">
                  <c:v>104.60659036740768</c:v>
                </c:pt>
                <c:pt idx="32">
                  <c:v>104.58582778421044</c:v>
                </c:pt>
                <c:pt idx="33">
                  <c:v>104.45225541038251</c:v>
                </c:pt>
                <c:pt idx="34">
                  <c:v>104.24425926893896</c:v>
                </c:pt>
                <c:pt idx="35">
                  <c:v>104.0740737575447</c:v>
                </c:pt>
                <c:pt idx="36">
                  <c:v>103.99773888898471</c:v>
                </c:pt>
                <c:pt idx="37">
                  <c:v>104.00888897574643</c:v>
                </c:pt>
                <c:pt idx="38">
                  <c:v>103.66964787117729</c:v>
                </c:pt>
                <c:pt idx="39">
                  <c:v>103.4963934329014</c:v>
                </c:pt>
                <c:pt idx="40">
                  <c:v>103.53209279001396</c:v>
                </c:pt>
                <c:pt idx="41">
                  <c:v>103.56173543049077</c:v>
                </c:pt>
                <c:pt idx="42">
                  <c:v>103.48003634486516</c:v>
                </c:pt>
                <c:pt idx="43">
                  <c:v>103.31027723307686</c:v>
                </c:pt>
                <c:pt idx="44">
                  <c:v>103.29014730476933</c:v>
                </c:pt>
                <c:pt idx="45">
                  <c:v>103.13779669570732</c:v>
                </c:pt>
                <c:pt idx="46">
                  <c:v>103.0589549863794</c:v>
                </c:pt>
                <c:pt idx="47">
                  <c:v>102.94839130416256</c:v>
                </c:pt>
                <c:pt idx="48">
                  <c:v>102.9234499336292</c:v>
                </c:pt>
                <c:pt idx="49">
                  <c:v>102.09180464530947</c:v>
                </c:pt>
                <c:pt idx="50">
                  <c:v>102.05555364250201</c:v>
                </c:pt>
                <c:pt idx="51">
                  <c:v>101.624284276440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7E-4E5A-8920-3B1A1CBF2F78}"/>
            </c:ext>
          </c:extLst>
        </c:ser>
        <c:ser>
          <c:idx val="2"/>
          <c:order val="2"/>
          <c:tx>
            <c:strRef>
              <c:f>peakindex!$P$14</c:f>
              <c:strCache>
                <c:ptCount val="1"/>
                <c:pt idx="0">
                  <c:v>Orang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peakindex!$P$15:$P$66</c:f>
              <c:numCache>
                <c:formatCode>General</c:formatCode>
                <c:ptCount val="52"/>
                <c:pt idx="0" formatCode="_(* #,##0_);_(* \(#,##0\);_(* &quot;-&quot;??_);_(@_)">
                  <c:v>100</c:v>
                </c:pt>
                <c:pt idx="1">
                  <c:v>99.72741392406526</c:v>
                </c:pt>
                <c:pt idx="2">
                  <c:v>99.838847670056339</c:v>
                </c:pt>
                <c:pt idx="3">
                  <c:v>100.00894790772965</c:v>
                </c:pt>
                <c:pt idx="4">
                  <c:v>100.29434184565693</c:v>
                </c:pt>
                <c:pt idx="5">
                  <c:v>100.40519416153049</c:v>
                </c:pt>
                <c:pt idx="6">
                  <c:v>100.57834078375227</c:v>
                </c:pt>
                <c:pt idx="7">
                  <c:v>100.93073376891286</c:v>
                </c:pt>
                <c:pt idx="8">
                  <c:v>101.12493891647955</c:v>
                </c:pt>
                <c:pt idx="9">
                  <c:v>101.22689067884723</c:v>
                </c:pt>
                <c:pt idx="10">
                  <c:v>100.92955184115209</c:v>
                </c:pt>
                <c:pt idx="11">
                  <c:v>100.92213359185556</c:v>
                </c:pt>
                <c:pt idx="12">
                  <c:v>100.98121878323813</c:v>
                </c:pt>
                <c:pt idx="13">
                  <c:v>100.53083160388606</c:v>
                </c:pt>
                <c:pt idx="14">
                  <c:v>98.690678517630644</c:v>
                </c:pt>
                <c:pt idx="15">
                  <c:v>98.332857450434489</c:v>
                </c:pt>
                <c:pt idx="16">
                  <c:v>97.745194697090199</c:v>
                </c:pt>
                <c:pt idx="17">
                  <c:v>97.511043304813981</c:v>
                </c:pt>
                <c:pt idx="18">
                  <c:v>97.344560306435653</c:v>
                </c:pt>
                <c:pt idx="19">
                  <c:v>97.030590907252687</c:v>
                </c:pt>
                <c:pt idx="20">
                  <c:v>97.00324152632048</c:v>
                </c:pt>
                <c:pt idx="21">
                  <c:v>96.803281946646578</c:v>
                </c:pt>
                <c:pt idx="22">
                  <c:v>96.864409847450219</c:v>
                </c:pt>
                <c:pt idx="23">
                  <c:v>96.847564618066514</c:v>
                </c:pt>
                <c:pt idx="24">
                  <c:v>96.674220698069206</c:v>
                </c:pt>
                <c:pt idx="25">
                  <c:v>97.493061966300615</c:v>
                </c:pt>
                <c:pt idx="26">
                  <c:v>99.304233975556102</c:v>
                </c:pt>
                <c:pt idx="27">
                  <c:v>99.446854609300999</c:v>
                </c:pt>
                <c:pt idx="28">
                  <c:v>99.819754472584677</c:v>
                </c:pt>
                <c:pt idx="29">
                  <c:v>99.844235103001893</c:v>
                </c:pt>
                <c:pt idx="30">
                  <c:v>99.871424421228681</c:v>
                </c:pt>
                <c:pt idx="31">
                  <c:v>99.982840869215082</c:v>
                </c:pt>
                <c:pt idx="32">
                  <c:v>100.08215397855271</c:v>
                </c:pt>
                <c:pt idx="33">
                  <c:v>100.00288381293241</c:v>
                </c:pt>
                <c:pt idx="34">
                  <c:v>99.779609143892628</c:v>
                </c:pt>
                <c:pt idx="35">
                  <c:v>99.592485775094858</c:v>
                </c:pt>
                <c:pt idx="36">
                  <c:v>99.330860360207168</c:v>
                </c:pt>
                <c:pt idx="37">
                  <c:v>99.144603230178248</c:v>
                </c:pt>
                <c:pt idx="38">
                  <c:v>98.621812554675358</c:v>
                </c:pt>
                <c:pt idx="39">
                  <c:v>98.248245222177616</c:v>
                </c:pt>
                <c:pt idx="40">
                  <c:v>98.145344252397308</c:v>
                </c:pt>
                <c:pt idx="41">
                  <c:v>98.080317177694752</c:v>
                </c:pt>
                <c:pt idx="42">
                  <c:v>98.103973378470627</c:v>
                </c:pt>
                <c:pt idx="43">
                  <c:v>98.063285011919845</c:v>
                </c:pt>
                <c:pt idx="44">
                  <c:v>98.063856598160655</c:v>
                </c:pt>
                <c:pt idx="45">
                  <c:v>98.095890587646508</c:v>
                </c:pt>
                <c:pt idx="46">
                  <c:v>98.173276637376645</c:v>
                </c:pt>
                <c:pt idx="47">
                  <c:v>98.0617428100729</c:v>
                </c:pt>
                <c:pt idx="48">
                  <c:v>98.174458220268008</c:v>
                </c:pt>
                <c:pt idx="49">
                  <c:v>97.607257100655403</c:v>
                </c:pt>
                <c:pt idx="50">
                  <c:v>98.041454315514429</c:v>
                </c:pt>
                <c:pt idx="51">
                  <c:v>97.99002941591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57E-4E5A-8920-3B1A1CBF2F78}"/>
            </c:ext>
          </c:extLst>
        </c:ser>
        <c:ser>
          <c:idx val="3"/>
          <c:order val="3"/>
          <c:tx>
            <c:strRef>
              <c:f>peakindex!$Q$14</c:f>
              <c:strCache>
                <c:ptCount val="1"/>
                <c:pt idx="0">
                  <c:v>Bu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peakindex!$Q$15:$Q$66</c:f>
              <c:numCache>
                <c:formatCode>General</c:formatCode>
                <c:ptCount val="52"/>
                <c:pt idx="0" formatCode="_(* #,##0_);_(* \(#,##0\);_(* &quot;-&quot;??_);_(@_)">
                  <c:v>100</c:v>
                </c:pt>
                <c:pt idx="1">
                  <c:v>99.30531983549777</c:v>
                </c:pt>
                <c:pt idx="2">
                  <c:v>99.403852662866996</c:v>
                </c:pt>
                <c:pt idx="3">
                  <c:v>99.36268521675396</c:v>
                </c:pt>
                <c:pt idx="4">
                  <c:v>99.358523682925309</c:v>
                </c:pt>
                <c:pt idx="5">
                  <c:v>99.223613775851973</c:v>
                </c:pt>
                <c:pt idx="6">
                  <c:v>99.18352619365028</c:v>
                </c:pt>
                <c:pt idx="7">
                  <c:v>99.198187807933905</c:v>
                </c:pt>
                <c:pt idx="8">
                  <c:v>99.071570624988027</c:v>
                </c:pt>
                <c:pt idx="9">
                  <c:v>98.906793256467324</c:v>
                </c:pt>
                <c:pt idx="10">
                  <c:v>98.426150384632734</c:v>
                </c:pt>
                <c:pt idx="11">
                  <c:v>98.238101204956109</c:v>
                </c:pt>
                <c:pt idx="12">
                  <c:v>98.296819998898087</c:v>
                </c:pt>
                <c:pt idx="13">
                  <c:v>97.772127281799058</c:v>
                </c:pt>
                <c:pt idx="14">
                  <c:v>95.939968086570389</c:v>
                </c:pt>
                <c:pt idx="15">
                  <c:v>95.810795084368692</c:v>
                </c:pt>
                <c:pt idx="16">
                  <c:v>95.354051947433817</c:v>
                </c:pt>
                <c:pt idx="17">
                  <c:v>95.152749191642513</c:v>
                </c:pt>
                <c:pt idx="18">
                  <c:v>94.851125294446703</c:v>
                </c:pt>
                <c:pt idx="19">
                  <c:v>94.58015258519012</c:v>
                </c:pt>
                <c:pt idx="20">
                  <c:v>94.58440528507019</c:v>
                </c:pt>
                <c:pt idx="21">
                  <c:v>94.487117697414291</c:v>
                </c:pt>
                <c:pt idx="22">
                  <c:v>94.57759777424414</c:v>
                </c:pt>
                <c:pt idx="23">
                  <c:v>94.691019223428953</c:v>
                </c:pt>
                <c:pt idx="24">
                  <c:v>94.495873387153452</c:v>
                </c:pt>
                <c:pt idx="25">
                  <c:v>95.59584991191447</c:v>
                </c:pt>
                <c:pt idx="26">
                  <c:v>97.256143534275068</c:v>
                </c:pt>
                <c:pt idx="27">
                  <c:v>97.271970688769159</c:v>
                </c:pt>
                <c:pt idx="28">
                  <c:v>97.617778287305441</c:v>
                </c:pt>
                <c:pt idx="29">
                  <c:v>97.711780090621602</c:v>
                </c:pt>
                <c:pt idx="30">
                  <c:v>97.799434013966774</c:v>
                </c:pt>
                <c:pt idx="31">
                  <c:v>98.011902785855227</c:v>
                </c:pt>
                <c:pt idx="32">
                  <c:v>98.12022567684393</c:v>
                </c:pt>
                <c:pt idx="33">
                  <c:v>98.127163508182988</c:v>
                </c:pt>
                <c:pt idx="34">
                  <c:v>97.921627951906785</c:v>
                </c:pt>
                <c:pt idx="35">
                  <c:v>97.738002212214752</c:v>
                </c:pt>
                <c:pt idx="36">
                  <c:v>97.514028991981235</c:v>
                </c:pt>
                <c:pt idx="37">
                  <c:v>97.142681216644576</c:v>
                </c:pt>
                <c:pt idx="38">
                  <c:v>96.548425564741294</c:v>
                </c:pt>
                <c:pt idx="39">
                  <c:v>95.987698903048766</c:v>
                </c:pt>
                <c:pt idx="40">
                  <c:v>95.643179102879998</c:v>
                </c:pt>
                <c:pt idx="41">
                  <c:v>95.375425222538183</c:v>
                </c:pt>
                <c:pt idx="42">
                  <c:v>95.324291633724087</c:v>
                </c:pt>
                <c:pt idx="43">
                  <c:v>94.996372710953324</c:v>
                </c:pt>
                <c:pt idx="44">
                  <c:v>94.8193130201511</c:v>
                </c:pt>
                <c:pt idx="45">
                  <c:v>94.605429782738398</c:v>
                </c:pt>
                <c:pt idx="46">
                  <c:v>94.475335556391798</c:v>
                </c:pt>
                <c:pt idx="47">
                  <c:v>94.269027459266539</c:v>
                </c:pt>
                <c:pt idx="48">
                  <c:v>94.203291994993037</c:v>
                </c:pt>
                <c:pt idx="49">
                  <c:v>93.362115558143458</c:v>
                </c:pt>
                <c:pt idx="50">
                  <c:v>93.623760828225926</c:v>
                </c:pt>
                <c:pt idx="51">
                  <c:v>93.333521272122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57E-4E5A-8920-3B1A1CBF2F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511416"/>
        <c:axId val="407520600"/>
      </c:lineChart>
      <c:catAx>
        <c:axId val="407511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520600"/>
        <c:crosses val="autoZero"/>
        <c:auto val="1"/>
        <c:lblAlgn val="ctr"/>
        <c:lblOffset val="100"/>
        <c:noMultiLvlLbl val="0"/>
      </c:catAx>
      <c:valAx>
        <c:axId val="407520600"/>
        <c:scaling>
          <c:orientation val="minMax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511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y line, indexed to Jan 201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offpeakindex!$V$14</c:f>
              <c:strCache>
                <c:ptCount val="1"/>
                <c:pt idx="0">
                  <c:v>Blue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off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offpeakindex!$V$15:$V$66</c:f>
              <c:numCache>
                <c:formatCode>General</c:formatCode>
                <c:ptCount val="52"/>
                <c:pt idx="0">
                  <c:v>100</c:v>
                </c:pt>
                <c:pt idx="1">
                  <c:v>99.903646796699263</c:v>
                </c:pt>
                <c:pt idx="2">
                  <c:v>99.98934549676737</c:v>
                </c:pt>
                <c:pt idx="3">
                  <c:v>100.13816864110352</c:v>
                </c:pt>
                <c:pt idx="4">
                  <c:v>100.96328058682541</c:v>
                </c:pt>
                <c:pt idx="5">
                  <c:v>101.23877684799393</c:v>
                </c:pt>
                <c:pt idx="6">
                  <c:v>101.60196570349036</c:v>
                </c:pt>
                <c:pt idx="7">
                  <c:v>102.05069210287033</c:v>
                </c:pt>
                <c:pt idx="8">
                  <c:v>102.15635841652842</c:v>
                </c:pt>
                <c:pt idx="9">
                  <c:v>102.26459732165436</c:v>
                </c:pt>
                <c:pt idx="10">
                  <c:v>102.14458541238945</c:v>
                </c:pt>
                <c:pt idx="11">
                  <c:v>102.14578264688296</c:v>
                </c:pt>
                <c:pt idx="12">
                  <c:v>102.14946194654769</c:v>
                </c:pt>
                <c:pt idx="13">
                  <c:v>101.7002573205223</c:v>
                </c:pt>
                <c:pt idx="14">
                  <c:v>100.45367784301355</c:v>
                </c:pt>
                <c:pt idx="15">
                  <c:v>100.17858969452288</c:v>
                </c:pt>
                <c:pt idx="16">
                  <c:v>99.585468180844643</c:v>
                </c:pt>
                <c:pt idx="17">
                  <c:v>99.641714548471057</c:v>
                </c:pt>
                <c:pt idx="18">
                  <c:v>99.484142198643781</c:v>
                </c:pt>
                <c:pt idx="19">
                  <c:v>99.466940250247049</c:v>
                </c:pt>
                <c:pt idx="20">
                  <c:v>99.471022873588694</c:v>
                </c:pt>
                <c:pt idx="21">
                  <c:v>99.571524548994603</c:v>
                </c:pt>
                <c:pt idx="22">
                  <c:v>99.528221796935952</c:v>
                </c:pt>
                <c:pt idx="23">
                  <c:v>99.045646230534388</c:v>
                </c:pt>
                <c:pt idx="24">
                  <c:v>98.957814358263434</c:v>
                </c:pt>
                <c:pt idx="25">
                  <c:v>99.551681786413738</c:v>
                </c:pt>
                <c:pt idx="26">
                  <c:v>100.73935023077053</c:v>
                </c:pt>
                <c:pt idx="27">
                  <c:v>101.10510504080403</c:v>
                </c:pt>
                <c:pt idx="28">
                  <c:v>101.86889607372838</c:v>
                </c:pt>
                <c:pt idx="29">
                  <c:v>101.90603971504177</c:v>
                </c:pt>
                <c:pt idx="30">
                  <c:v>102.39436516633506</c:v>
                </c:pt>
                <c:pt idx="31">
                  <c:v>102.89055850378841</c:v>
                </c:pt>
                <c:pt idx="32">
                  <c:v>103.16717770760695</c:v>
                </c:pt>
                <c:pt idx="33">
                  <c:v>103.38862709950874</c:v>
                </c:pt>
                <c:pt idx="34">
                  <c:v>103.87187546147412</c:v>
                </c:pt>
                <c:pt idx="35">
                  <c:v>104.87066374560877</c:v>
                </c:pt>
                <c:pt idx="36">
                  <c:v>105.26422544090592</c:v>
                </c:pt>
                <c:pt idx="37">
                  <c:v>105.66657901822035</c:v>
                </c:pt>
                <c:pt idx="38">
                  <c:v>105.97547188581721</c:v>
                </c:pt>
                <c:pt idx="39">
                  <c:v>105.80580538899262</c:v>
                </c:pt>
                <c:pt idx="40">
                  <c:v>105.90516211902192</c:v>
                </c:pt>
                <c:pt idx="41">
                  <c:v>105.98094805964517</c:v>
                </c:pt>
                <c:pt idx="42">
                  <c:v>106.11692051845716</c:v>
                </c:pt>
                <c:pt idx="43">
                  <c:v>105.73161388638559</c:v>
                </c:pt>
                <c:pt idx="44">
                  <c:v>105.69321045802032</c:v>
                </c:pt>
                <c:pt idx="45">
                  <c:v>105.6897945534099</c:v>
                </c:pt>
                <c:pt idx="46">
                  <c:v>106.23712723139877</c:v>
                </c:pt>
                <c:pt idx="47">
                  <c:v>106.58013344085953</c:v>
                </c:pt>
                <c:pt idx="48">
                  <c:v>106.96833928923191</c:v>
                </c:pt>
                <c:pt idx="49">
                  <c:v>106.52910087357354</c:v>
                </c:pt>
                <c:pt idx="50">
                  <c:v>106.86987602295264</c:v>
                </c:pt>
                <c:pt idx="51">
                  <c:v>107.166895352663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C0-4596-9FF9-224CBE77EF15}"/>
            </c:ext>
          </c:extLst>
        </c:ser>
        <c:ser>
          <c:idx val="1"/>
          <c:order val="1"/>
          <c:tx>
            <c:strRef>
              <c:f>offpeakindex!$W$14</c:f>
              <c:strCache>
                <c:ptCount val="1"/>
                <c:pt idx="0">
                  <c:v>Red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off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offpeakindex!$W$15:$W$66</c:f>
              <c:numCache>
                <c:formatCode>General</c:formatCode>
                <c:ptCount val="52"/>
                <c:pt idx="0">
                  <c:v>100</c:v>
                </c:pt>
                <c:pt idx="1">
                  <c:v>99.949071937646977</c:v>
                </c:pt>
                <c:pt idx="2">
                  <c:v>99.978338115433345</c:v>
                </c:pt>
                <c:pt idx="3">
                  <c:v>99.937426516953821</c:v>
                </c:pt>
                <c:pt idx="4">
                  <c:v>100.63916436213506</c:v>
                </c:pt>
                <c:pt idx="5">
                  <c:v>100.88713481545469</c:v>
                </c:pt>
                <c:pt idx="6">
                  <c:v>101.06328903139676</c:v>
                </c:pt>
                <c:pt idx="7">
                  <c:v>101.34997270744337</c:v>
                </c:pt>
                <c:pt idx="8">
                  <c:v>101.46697280074295</c:v>
                </c:pt>
                <c:pt idx="9">
                  <c:v>101.64341829630308</c:v>
                </c:pt>
                <c:pt idx="10">
                  <c:v>101.64226098765286</c:v>
                </c:pt>
                <c:pt idx="11">
                  <c:v>101.88727618594721</c:v>
                </c:pt>
                <c:pt idx="12">
                  <c:v>101.98783524411263</c:v>
                </c:pt>
                <c:pt idx="13">
                  <c:v>101.64433993195811</c:v>
                </c:pt>
                <c:pt idx="14">
                  <c:v>100.00469461095629</c:v>
                </c:pt>
                <c:pt idx="15">
                  <c:v>100.0160921683469</c:v>
                </c:pt>
                <c:pt idx="16">
                  <c:v>99.438349888132123</c:v>
                </c:pt>
                <c:pt idx="17">
                  <c:v>99.459298129587054</c:v>
                </c:pt>
                <c:pt idx="18">
                  <c:v>99.52268637087694</c:v>
                </c:pt>
                <c:pt idx="19">
                  <c:v>99.458917791708529</c:v>
                </c:pt>
                <c:pt idx="20">
                  <c:v>99.363437709035395</c:v>
                </c:pt>
                <c:pt idx="21">
                  <c:v>99.264804008450298</c:v>
                </c:pt>
                <c:pt idx="22">
                  <c:v>99.210528533095328</c:v>
                </c:pt>
                <c:pt idx="23">
                  <c:v>99.108637703503149</c:v>
                </c:pt>
                <c:pt idx="24">
                  <c:v>98.688350319046549</c:v>
                </c:pt>
                <c:pt idx="25">
                  <c:v>99.123925640973852</c:v>
                </c:pt>
                <c:pt idx="26">
                  <c:v>100.46042245394253</c:v>
                </c:pt>
                <c:pt idx="27">
                  <c:v>100.34941875980958</c:v>
                </c:pt>
                <c:pt idx="28">
                  <c:v>100.54193175619051</c:v>
                </c:pt>
                <c:pt idx="29">
                  <c:v>100.0532465511657</c:v>
                </c:pt>
                <c:pt idx="30">
                  <c:v>99.861242303723955</c:v>
                </c:pt>
                <c:pt idx="31">
                  <c:v>99.62516301528872</c:v>
                </c:pt>
                <c:pt idx="32">
                  <c:v>99.26933453088013</c:v>
                </c:pt>
                <c:pt idx="33">
                  <c:v>98.875006147166673</c:v>
                </c:pt>
                <c:pt idx="34">
                  <c:v>98.372610140855414</c:v>
                </c:pt>
                <c:pt idx="35">
                  <c:v>97.958987349371412</c:v>
                </c:pt>
                <c:pt idx="36">
                  <c:v>97.761986606256215</c:v>
                </c:pt>
                <c:pt idx="37">
                  <c:v>97.574373380126687</c:v>
                </c:pt>
                <c:pt idx="38">
                  <c:v>97.353240303943494</c:v>
                </c:pt>
                <c:pt idx="39">
                  <c:v>96.82506589430146</c:v>
                </c:pt>
                <c:pt idx="40">
                  <c:v>96.661633946401381</c:v>
                </c:pt>
                <c:pt idx="41">
                  <c:v>96.523159887034453</c:v>
                </c:pt>
                <c:pt idx="42">
                  <c:v>96.283046025512391</c:v>
                </c:pt>
                <c:pt idx="43">
                  <c:v>95.953196513627205</c:v>
                </c:pt>
                <c:pt idx="44">
                  <c:v>95.893525076775447</c:v>
                </c:pt>
                <c:pt idx="45">
                  <c:v>95.702405510378384</c:v>
                </c:pt>
                <c:pt idx="46">
                  <c:v>95.557961643616423</c:v>
                </c:pt>
                <c:pt idx="47">
                  <c:v>95.357055158504124</c:v>
                </c:pt>
                <c:pt idx="48">
                  <c:v>95.122366718686763</c:v>
                </c:pt>
                <c:pt idx="49">
                  <c:v>94.389629904075036</c:v>
                </c:pt>
                <c:pt idx="50">
                  <c:v>94.010504674731877</c:v>
                </c:pt>
                <c:pt idx="51">
                  <c:v>93.6214716517638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8C0-4596-9FF9-224CBE77EF15}"/>
            </c:ext>
          </c:extLst>
        </c:ser>
        <c:ser>
          <c:idx val="2"/>
          <c:order val="2"/>
          <c:tx>
            <c:strRef>
              <c:f>offpeakindex!$X$14</c:f>
              <c:strCache>
                <c:ptCount val="1"/>
                <c:pt idx="0">
                  <c:v>Orang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off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offpeakindex!$X$15:$X$66</c:f>
              <c:numCache>
                <c:formatCode>General</c:formatCode>
                <c:ptCount val="52"/>
                <c:pt idx="0" formatCode="_(* #,##0_);_(* \(#,##0\);_(* &quot;-&quot;??_);_(@_)">
                  <c:v>100</c:v>
                </c:pt>
                <c:pt idx="1">
                  <c:v>99.893558893008745</c:v>
                </c:pt>
                <c:pt idx="2">
                  <c:v>99.95869232142519</c:v>
                </c:pt>
                <c:pt idx="3">
                  <c:v>100.07885765693072</c:v>
                </c:pt>
                <c:pt idx="4">
                  <c:v>100.6913921154872</c:v>
                </c:pt>
                <c:pt idx="5">
                  <c:v>101.09479544693727</c:v>
                </c:pt>
                <c:pt idx="6">
                  <c:v>101.50336250050694</c:v>
                </c:pt>
                <c:pt idx="7">
                  <c:v>101.99221839055703</c:v>
                </c:pt>
                <c:pt idx="8">
                  <c:v>102.35015524841732</c:v>
                </c:pt>
                <c:pt idx="9">
                  <c:v>102.68289664342112</c:v>
                </c:pt>
                <c:pt idx="10">
                  <c:v>102.6612504157206</c:v>
                </c:pt>
                <c:pt idx="11">
                  <c:v>102.84774849229854</c:v>
                </c:pt>
                <c:pt idx="12">
                  <c:v>103.06941419727964</c:v>
                </c:pt>
                <c:pt idx="13">
                  <c:v>102.71008259632106</c:v>
                </c:pt>
                <c:pt idx="14">
                  <c:v>101.64497622242486</c:v>
                </c:pt>
                <c:pt idx="15">
                  <c:v>101.70593930899292</c:v>
                </c:pt>
                <c:pt idx="16">
                  <c:v>101.25333584625949</c:v>
                </c:pt>
                <c:pt idx="17">
                  <c:v>101.27683215445171</c:v>
                </c:pt>
                <c:pt idx="18">
                  <c:v>101.20173824922082</c:v>
                </c:pt>
                <c:pt idx="19">
                  <c:v>101.1566768975604</c:v>
                </c:pt>
                <c:pt idx="20">
                  <c:v>101.04795311232063</c:v>
                </c:pt>
                <c:pt idx="21">
                  <c:v>100.71688687962205</c:v>
                </c:pt>
                <c:pt idx="22">
                  <c:v>100.60930198252775</c:v>
                </c:pt>
                <c:pt idx="23">
                  <c:v>100.49130492332732</c:v>
                </c:pt>
                <c:pt idx="24">
                  <c:v>100.24726412638717</c:v>
                </c:pt>
                <c:pt idx="25">
                  <c:v>100.82286490735501</c:v>
                </c:pt>
                <c:pt idx="26">
                  <c:v>101.78088652142931</c:v>
                </c:pt>
                <c:pt idx="27">
                  <c:v>101.56740543978809</c:v>
                </c:pt>
                <c:pt idx="28">
                  <c:v>101.62931961505994</c:v>
                </c:pt>
                <c:pt idx="29">
                  <c:v>101.14735247323654</c:v>
                </c:pt>
                <c:pt idx="30">
                  <c:v>100.96154948994413</c:v>
                </c:pt>
                <c:pt idx="31">
                  <c:v>100.75730405989489</c:v>
                </c:pt>
                <c:pt idx="32">
                  <c:v>100.47142381172034</c:v>
                </c:pt>
                <c:pt idx="33">
                  <c:v>100.11979550094038</c:v>
                </c:pt>
                <c:pt idx="34">
                  <c:v>99.615448880261155</c:v>
                </c:pt>
                <c:pt idx="35">
                  <c:v>99.149530284606968</c:v>
                </c:pt>
                <c:pt idx="36">
                  <c:v>98.685267622322954</c:v>
                </c:pt>
                <c:pt idx="37">
                  <c:v>98.336086954997498</c:v>
                </c:pt>
                <c:pt idx="38">
                  <c:v>97.821920916349896</c:v>
                </c:pt>
                <c:pt idx="39">
                  <c:v>97.135152040966162</c:v>
                </c:pt>
                <c:pt idx="40">
                  <c:v>96.796680284779114</c:v>
                </c:pt>
                <c:pt idx="41">
                  <c:v>96.523497184232014</c:v>
                </c:pt>
                <c:pt idx="42">
                  <c:v>96.249845402073674</c:v>
                </c:pt>
                <c:pt idx="43">
                  <c:v>95.936013989279786</c:v>
                </c:pt>
                <c:pt idx="44">
                  <c:v>95.864134240802827</c:v>
                </c:pt>
                <c:pt idx="45">
                  <c:v>95.842323579658441</c:v>
                </c:pt>
                <c:pt idx="46">
                  <c:v>95.897909872350581</c:v>
                </c:pt>
                <c:pt idx="47">
                  <c:v>95.791606564833629</c:v>
                </c:pt>
                <c:pt idx="48">
                  <c:v>95.770133621333741</c:v>
                </c:pt>
                <c:pt idx="49">
                  <c:v>95.195924110527599</c:v>
                </c:pt>
                <c:pt idx="50">
                  <c:v>95.371385726301341</c:v>
                </c:pt>
                <c:pt idx="51">
                  <c:v>95.3531926009219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8C0-4596-9FF9-224CBE77EF15}"/>
            </c:ext>
          </c:extLst>
        </c:ser>
        <c:ser>
          <c:idx val="3"/>
          <c:order val="3"/>
          <c:tx>
            <c:strRef>
              <c:f>offpeakindex!$Y$14</c:f>
              <c:strCache>
                <c:ptCount val="1"/>
                <c:pt idx="0">
                  <c:v>Bu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offpeakindex!$D$15:$D$66</c:f>
              <c:strCache>
                <c:ptCount val="52"/>
                <c:pt idx="0">
                  <c:v>Dec 2013</c:v>
                </c:pt>
                <c:pt idx="1">
                  <c:v>Jan 2014</c:v>
                </c:pt>
                <c:pt idx="2">
                  <c:v>Feb 2014</c:v>
                </c:pt>
                <c:pt idx="3">
                  <c:v>Mar 2014</c:v>
                </c:pt>
                <c:pt idx="4">
                  <c:v>Apr 2014</c:v>
                </c:pt>
                <c:pt idx="5">
                  <c:v>May 2014</c:v>
                </c:pt>
                <c:pt idx="6">
                  <c:v>Jun 2014</c:v>
                </c:pt>
                <c:pt idx="7">
                  <c:v>Jul 2014</c:v>
                </c:pt>
                <c:pt idx="8">
                  <c:v>Aug 2014</c:v>
                </c:pt>
                <c:pt idx="9">
                  <c:v>Sep 2014</c:v>
                </c:pt>
                <c:pt idx="10">
                  <c:v>Oct 2014</c:v>
                </c:pt>
                <c:pt idx="11">
                  <c:v>Nov 2014</c:v>
                </c:pt>
                <c:pt idx="12">
                  <c:v>Dec 2014</c:v>
                </c:pt>
                <c:pt idx="13">
                  <c:v>Jan 2015</c:v>
                </c:pt>
                <c:pt idx="14">
                  <c:v>Feb 2015</c:v>
                </c:pt>
                <c:pt idx="15">
                  <c:v>Mar 2015</c:v>
                </c:pt>
                <c:pt idx="16">
                  <c:v>Apr 2015</c:v>
                </c:pt>
                <c:pt idx="17">
                  <c:v>May 2015</c:v>
                </c:pt>
                <c:pt idx="18">
                  <c:v>Jun 2015</c:v>
                </c:pt>
                <c:pt idx="19">
                  <c:v>Jul 2015</c:v>
                </c:pt>
                <c:pt idx="20">
                  <c:v>Aug 2015</c:v>
                </c:pt>
                <c:pt idx="21">
                  <c:v>Sep 2015</c:v>
                </c:pt>
                <c:pt idx="22">
                  <c:v>Oct 2015</c:v>
                </c:pt>
                <c:pt idx="23">
                  <c:v>Nov 2015</c:v>
                </c:pt>
                <c:pt idx="24">
                  <c:v>Dec 2015</c:v>
                </c:pt>
                <c:pt idx="25">
                  <c:v>Jan 2016</c:v>
                </c:pt>
                <c:pt idx="26">
                  <c:v>Feb 2016</c:v>
                </c:pt>
                <c:pt idx="27">
                  <c:v>Mar 2016</c:v>
                </c:pt>
                <c:pt idx="28">
                  <c:v>Apr 2016</c:v>
                </c:pt>
                <c:pt idx="29">
                  <c:v>May 2016</c:v>
                </c:pt>
                <c:pt idx="30">
                  <c:v>Jun 2016</c:v>
                </c:pt>
                <c:pt idx="31">
                  <c:v>Jul 2016</c:v>
                </c:pt>
                <c:pt idx="32">
                  <c:v>Aug 2016</c:v>
                </c:pt>
                <c:pt idx="33">
                  <c:v>Sep 2016</c:v>
                </c:pt>
                <c:pt idx="34">
                  <c:v>Oct 2016</c:v>
                </c:pt>
                <c:pt idx="35">
                  <c:v>Nov 2016</c:v>
                </c:pt>
                <c:pt idx="36">
                  <c:v>Dec 2016</c:v>
                </c:pt>
                <c:pt idx="37">
                  <c:v>Jan 2017</c:v>
                </c:pt>
                <c:pt idx="38">
                  <c:v>Feb 2017</c:v>
                </c:pt>
                <c:pt idx="39">
                  <c:v>Mar 2017</c:v>
                </c:pt>
                <c:pt idx="40">
                  <c:v>Apr 2017</c:v>
                </c:pt>
                <c:pt idx="41">
                  <c:v>May 2017</c:v>
                </c:pt>
                <c:pt idx="42">
                  <c:v>Jun 2017</c:v>
                </c:pt>
                <c:pt idx="43">
                  <c:v>Jul 2017</c:v>
                </c:pt>
                <c:pt idx="44">
                  <c:v>Aug 2017</c:v>
                </c:pt>
                <c:pt idx="45">
                  <c:v>Sep 2017</c:v>
                </c:pt>
                <c:pt idx="46">
                  <c:v>Oct 2017</c:v>
                </c:pt>
                <c:pt idx="47">
                  <c:v>Nov 2017</c:v>
                </c:pt>
                <c:pt idx="48">
                  <c:v>Dec 2017</c:v>
                </c:pt>
                <c:pt idx="49">
                  <c:v>Jan 2018</c:v>
                </c:pt>
                <c:pt idx="50">
                  <c:v>Feb 2018</c:v>
                </c:pt>
                <c:pt idx="51">
                  <c:v>Mar 2018</c:v>
                </c:pt>
              </c:strCache>
            </c:strRef>
          </c:cat>
          <c:val>
            <c:numRef>
              <c:f>offpeakindex!$Y$15:$Y$66</c:f>
              <c:numCache>
                <c:formatCode>General</c:formatCode>
                <c:ptCount val="52"/>
                <c:pt idx="0" formatCode="_(* #,##0_);_(* \(#,##0\);_(* &quot;-&quot;??_);_(@_)">
                  <c:v>100</c:v>
                </c:pt>
                <c:pt idx="1">
                  <c:v>99.463632924685228</c:v>
                </c:pt>
                <c:pt idx="2">
                  <c:v>99.2963335419103</c:v>
                </c:pt>
                <c:pt idx="3">
                  <c:v>99.1595071353441</c:v>
                </c:pt>
                <c:pt idx="4">
                  <c:v>99.201368336039764</c:v>
                </c:pt>
                <c:pt idx="5">
                  <c:v>99.131864917187102</c:v>
                </c:pt>
                <c:pt idx="6">
                  <c:v>99.119117427622101</c:v>
                </c:pt>
                <c:pt idx="7">
                  <c:v>99.080753140546975</c:v>
                </c:pt>
                <c:pt idx="8">
                  <c:v>98.941985368826181</c:v>
                </c:pt>
                <c:pt idx="9">
                  <c:v>98.745611953348316</c:v>
                </c:pt>
                <c:pt idx="10">
                  <c:v>98.363051023316899</c:v>
                </c:pt>
                <c:pt idx="11">
                  <c:v>98.288428340002525</c:v>
                </c:pt>
                <c:pt idx="12">
                  <c:v>98.39841299906719</c:v>
                </c:pt>
                <c:pt idx="13">
                  <c:v>97.948239468438032</c:v>
                </c:pt>
                <c:pt idx="14">
                  <c:v>96.650183711825264</c:v>
                </c:pt>
                <c:pt idx="15">
                  <c:v>96.593249702222636</c:v>
                </c:pt>
                <c:pt idx="16">
                  <c:v>96.174917610312093</c:v>
                </c:pt>
                <c:pt idx="17">
                  <c:v>96.048523010388479</c:v>
                </c:pt>
                <c:pt idx="18">
                  <c:v>95.673499651563333</c:v>
                </c:pt>
                <c:pt idx="19">
                  <c:v>95.488007117564862</c:v>
                </c:pt>
                <c:pt idx="20">
                  <c:v>95.340590051892491</c:v>
                </c:pt>
                <c:pt idx="21">
                  <c:v>95.184574168752306</c:v>
                </c:pt>
                <c:pt idx="22">
                  <c:v>95.176778855692802</c:v>
                </c:pt>
                <c:pt idx="23">
                  <c:v>95.165447510185714</c:v>
                </c:pt>
                <c:pt idx="24">
                  <c:v>94.826490762821919</c:v>
                </c:pt>
                <c:pt idx="25">
                  <c:v>95.485927814094723</c:v>
                </c:pt>
                <c:pt idx="26">
                  <c:v>96.457236945723352</c:v>
                </c:pt>
                <c:pt idx="27">
                  <c:v>96.246556450731589</c:v>
                </c:pt>
                <c:pt idx="28">
                  <c:v>96.337259182977959</c:v>
                </c:pt>
                <c:pt idx="29">
                  <c:v>96.104498754964013</c:v>
                </c:pt>
                <c:pt idx="30">
                  <c:v>96.117740329226365</c:v>
                </c:pt>
                <c:pt idx="31">
                  <c:v>96.14801791861484</c:v>
                </c:pt>
                <c:pt idx="32">
                  <c:v>96.132495001321757</c:v>
                </c:pt>
                <c:pt idx="33">
                  <c:v>95.952527531772603</c:v>
                </c:pt>
                <c:pt idx="34">
                  <c:v>95.61358064263861</c:v>
                </c:pt>
                <c:pt idx="35">
                  <c:v>95.319684285183186</c:v>
                </c:pt>
                <c:pt idx="36">
                  <c:v>94.994595356129565</c:v>
                </c:pt>
                <c:pt idx="37">
                  <c:v>94.629513701393847</c:v>
                </c:pt>
                <c:pt idx="38">
                  <c:v>94.079146251845046</c:v>
                </c:pt>
                <c:pt idx="39">
                  <c:v>93.420989964059871</c:v>
                </c:pt>
                <c:pt idx="40">
                  <c:v>93.003373963399326</c:v>
                </c:pt>
                <c:pt idx="41">
                  <c:v>92.573346173282374</c:v>
                </c:pt>
                <c:pt idx="42">
                  <c:v>92.358482358036568</c:v>
                </c:pt>
                <c:pt idx="43">
                  <c:v>91.896045318245498</c:v>
                </c:pt>
                <c:pt idx="44">
                  <c:v>91.697138280203689</c:v>
                </c:pt>
                <c:pt idx="45">
                  <c:v>91.440280972686296</c:v>
                </c:pt>
                <c:pt idx="46">
                  <c:v>91.327234433510796</c:v>
                </c:pt>
                <c:pt idx="47">
                  <c:v>91.110272650044493</c:v>
                </c:pt>
                <c:pt idx="48">
                  <c:v>91.009107438368829</c:v>
                </c:pt>
                <c:pt idx="49">
                  <c:v>90.324767264272381</c:v>
                </c:pt>
                <c:pt idx="50">
                  <c:v>90.548552176477699</c:v>
                </c:pt>
                <c:pt idx="51">
                  <c:v>90.392534722671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8C0-4596-9FF9-224CBE77EF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511416"/>
        <c:axId val="407520600"/>
      </c:lineChart>
      <c:catAx>
        <c:axId val="407511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520600"/>
        <c:crosses val="autoZero"/>
        <c:auto val="1"/>
        <c:lblAlgn val="ctr"/>
        <c:lblOffset val="100"/>
        <c:noMultiLvlLbl val="0"/>
      </c:catAx>
      <c:valAx>
        <c:axId val="407520600"/>
        <c:scaling>
          <c:orientation val="minMax"/>
          <c:max val="120"/>
          <c:min val="8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511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272</cdr:x>
      <cdr:y>0.1138</cdr:y>
    </cdr:from>
    <cdr:to>
      <cdr:x>0.16611</cdr:x>
      <cdr:y>0.167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80316" y="554995"/>
          <a:ext cx="685800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marL="342900" indent="-342900"/>
          <a:r>
            <a:rPr lang="en-US" sz="1100" b="1" dirty="0" smtClean="0">
              <a:solidFill>
                <a:srgbClr val="00269E"/>
              </a:solidFill>
              <a:latin typeface="+mj-lt"/>
            </a:rPr>
            <a:t>263.5 K</a:t>
          </a:r>
        </a:p>
      </cdr:txBody>
    </cdr:sp>
  </cdr:relSizeAnchor>
  <cdr:relSizeAnchor xmlns:cdr="http://schemas.openxmlformats.org/drawingml/2006/chartDrawing">
    <cdr:from>
      <cdr:x>0.91817</cdr:x>
      <cdr:y>0.1138</cdr:y>
    </cdr:from>
    <cdr:to>
      <cdr:x>0.98302</cdr:x>
      <cdr:y>0.1674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551102" y="554995"/>
          <a:ext cx="533400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342900" indent="-342900"/>
          <a:r>
            <a:rPr lang="en-US" sz="1100" b="1" dirty="0" smtClean="0">
              <a:solidFill>
                <a:srgbClr val="00269E"/>
              </a:solidFill>
              <a:latin typeface="+mj-lt"/>
            </a:rPr>
            <a:t>260 K</a:t>
          </a:r>
        </a:p>
      </cdr:txBody>
    </cdr:sp>
  </cdr:relSizeAnchor>
  <cdr:relSizeAnchor xmlns:cdr="http://schemas.openxmlformats.org/drawingml/2006/chartDrawing">
    <cdr:from>
      <cdr:x>0.08272</cdr:x>
      <cdr:y>0.29206</cdr:y>
    </cdr:from>
    <cdr:to>
      <cdr:x>0.14758</cdr:x>
      <cdr:y>0.3457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680316" y="1424315"/>
          <a:ext cx="533400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342900" indent="-342900"/>
          <a:r>
            <a:rPr lang="en-US" sz="1100" b="1" dirty="0" smtClean="0">
              <a:solidFill>
                <a:srgbClr val="00269E"/>
              </a:solidFill>
              <a:latin typeface="+mj-lt"/>
            </a:rPr>
            <a:t>190 K</a:t>
          </a:r>
        </a:p>
      </cdr:txBody>
    </cdr:sp>
  </cdr:relSizeAnchor>
  <cdr:relSizeAnchor xmlns:cdr="http://schemas.openxmlformats.org/drawingml/2006/chartDrawing">
    <cdr:from>
      <cdr:x>0.93514</cdr:x>
      <cdr:y>0.29688</cdr:y>
    </cdr:from>
    <cdr:to>
      <cdr:x>1</cdr:x>
      <cdr:y>0.35052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7690715" y="1447800"/>
          <a:ext cx="533400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342900" indent="-342900"/>
          <a:r>
            <a:rPr lang="en-US" sz="1100" b="1" dirty="0" smtClean="0">
              <a:solidFill>
                <a:srgbClr val="00269E"/>
              </a:solidFill>
              <a:latin typeface="+mj-lt"/>
            </a:rPr>
            <a:t>189 K</a:t>
          </a:r>
        </a:p>
      </cdr:txBody>
    </cdr:sp>
  </cdr:relSizeAnchor>
  <cdr:relSizeAnchor xmlns:cdr="http://schemas.openxmlformats.org/drawingml/2006/chartDrawing">
    <cdr:from>
      <cdr:x>0.07346</cdr:x>
      <cdr:y>0.39693</cdr:y>
    </cdr:from>
    <cdr:to>
      <cdr:x>0.15685</cdr:x>
      <cdr:y>0.45057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604116" y="1935727"/>
          <a:ext cx="685800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342900" indent="-342900"/>
          <a:r>
            <a:rPr lang="en-US" sz="1100" b="1" dirty="0" smtClean="0">
              <a:solidFill>
                <a:schemeClr val="tx1"/>
              </a:solidFill>
              <a:latin typeface="+mj-lt"/>
            </a:rPr>
            <a:t>162 K</a:t>
          </a:r>
        </a:p>
      </cdr:txBody>
    </cdr:sp>
  </cdr:relSizeAnchor>
  <cdr:relSizeAnchor xmlns:cdr="http://schemas.openxmlformats.org/drawingml/2006/chartDrawing">
    <cdr:from>
      <cdr:x>0.91661</cdr:x>
      <cdr:y>0.40586</cdr:y>
    </cdr:from>
    <cdr:to>
      <cdr:x>1</cdr:x>
      <cdr:y>0.45951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7538315" y="1979310"/>
          <a:ext cx="685800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342900" indent="-342900"/>
          <a:r>
            <a:rPr lang="en-US" sz="1100" b="1" dirty="0" smtClean="0">
              <a:solidFill>
                <a:schemeClr val="tx1"/>
              </a:solidFill>
              <a:latin typeface="+mj-lt"/>
            </a:rPr>
            <a:t>152 K</a:t>
          </a:r>
        </a:p>
      </cdr:txBody>
    </cdr:sp>
  </cdr:relSizeAnchor>
  <cdr:relSizeAnchor xmlns:cdr="http://schemas.openxmlformats.org/drawingml/2006/chartDrawing">
    <cdr:from>
      <cdr:x>0.91661</cdr:x>
      <cdr:y>0.53125</cdr:y>
    </cdr:from>
    <cdr:to>
      <cdr:x>1</cdr:x>
      <cdr:y>0.5833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7538315" y="2590800"/>
          <a:ext cx="685800" cy="25391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342900" indent="-342900"/>
          <a:r>
            <a:rPr lang="en-US" sz="1050" b="1" dirty="0" smtClean="0">
              <a:solidFill>
                <a:schemeClr val="tx1"/>
              </a:solidFill>
              <a:latin typeface="Calibri Light" panose="020F0302020204030204" pitchFamily="34" charset="0"/>
            </a:rPr>
            <a:t>99 K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5/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5643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5" y="0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5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82" tIns="47540" rIns="95082" bIns="4754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6"/>
            <a:ext cx="5618480" cy="4189095"/>
          </a:xfrm>
          <a:prstGeom prst="rect">
            <a:avLst/>
          </a:prstGeom>
        </p:spPr>
        <p:txBody>
          <a:bodyPr vert="horz" lIns="95082" tIns="47540" rIns="95082" bIns="4754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2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5" y="8842032"/>
            <a:ext cx="3043343" cy="465455"/>
          </a:xfrm>
          <a:prstGeom prst="rect">
            <a:avLst/>
          </a:prstGeom>
        </p:spPr>
        <p:txBody>
          <a:bodyPr vert="horz" lIns="95082" tIns="47540" rIns="95082" bIns="47540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mmuter rail ridership data is based on manual conductor counts, it isn’t precise enough to show short-term trends. We are undertaking several initiatives to improve our commuter rail ridership data quality, including additional manual counts and installation of APCs on commuter rail coaches. 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082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714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5/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9840243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4/2018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5/4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5/4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28058261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5/4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88" y="6302597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5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y 7, </a:t>
            </a:r>
            <a:r>
              <a:rPr lang="en-US" dirty="0"/>
              <a:t>20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ird Quarter FY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549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Updates for Q3 FY18: New data for January through March 2018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Heavy rail and commuter rail ridership appears to be stable, bus is still decli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Light rail data not included, analysis continues to investigate the impacts of non-interaction with the </a:t>
            </a:r>
            <a:r>
              <a:rPr lang="en-US" sz="1800" dirty="0" err="1" smtClean="0"/>
              <a:t>farebox</a:t>
            </a:r>
            <a:r>
              <a:rPr lang="en-US" sz="1800" dirty="0" smtClean="0"/>
              <a:t> on ridership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Data presented to illustrate trends, so the absolute values do not reflect total ridership</a:t>
            </a:r>
          </a:p>
          <a:p>
            <a:pPr marL="571500" lvl="1" indent="-171450"/>
            <a:r>
              <a:rPr lang="en-US" sz="1800" dirty="0" smtClean="0"/>
              <a:t>Snow days in March were dropped</a:t>
            </a:r>
          </a:p>
          <a:p>
            <a:pPr marL="571500" lvl="1" indent="-171450"/>
            <a:r>
              <a:rPr lang="en-US" sz="1800" dirty="0" smtClean="0"/>
              <a:t>Downtown transfers stations not included due to </a:t>
            </a:r>
            <a:r>
              <a:rPr lang="en-US" sz="1800" dirty="0"/>
              <a:t>G</a:t>
            </a:r>
            <a:r>
              <a:rPr lang="en-US" sz="1800" dirty="0" smtClean="0"/>
              <a:t>overnment Center closure</a:t>
            </a:r>
          </a:p>
          <a:p>
            <a:pPr marL="571500" lvl="1" indent="-171450"/>
            <a:r>
              <a:rPr lang="en-US" sz="1800" dirty="0" smtClean="0"/>
              <a:t>Non-interaction and behind the gate transfers not included</a:t>
            </a:r>
          </a:p>
          <a:p>
            <a:pPr marL="571500" lvl="1" indent="-171450"/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</p:spTree>
    <p:extLst>
      <p:ext uri="{BB962C8B-B14F-4D97-AF65-F5344CB8AC3E}">
        <p14:creationId xmlns:p14="http://schemas.microsoft.com/office/powerpoint/2010/main" val="255226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OPMI is working on an in-depth spatial analysis of ridership, especially bus routes, to evaluate factors that influence ridership change (up or down). Variables we are evaluating include:</a:t>
            </a:r>
          </a:p>
          <a:p>
            <a:pPr marL="571500" lvl="1" indent="-171450"/>
            <a:r>
              <a:rPr lang="en-US" sz="1800" dirty="0" smtClean="0"/>
              <a:t>Service characteristics (frequency, speed, reliability, crowding)</a:t>
            </a:r>
          </a:p>
          <a:p>
            <a:pPr marL="571500" lvl="1" indent="-171450"/>
            <a:r>
              <a:rPr lang="en-US" sz="1800" dirty="0" smtClean="0"/>
              <a:t>Passenger characteristics (Senior / Student cards, Corporate Program subscribers, pass purchasers vs. pay-per-ride users)</a:t>
            </a:r>
          </a:p>
          <a:p>
            <a:pPr marL="571500" lvl="1" indent="-171450"/>
            <a:r>
              <a:rPr lang="en-US" sz="1800" dirty="0" smtClean="0"/>
              <a:t>Neighborhood characteristics (race, income, employment, job accessibility, vehicle acces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Report will also include literature review and related analyses for additional context</a:t>
            </a:r>
          </a:p>
          <a:p>
            <a:pPr marL="571500" lvl="1" indent="-171450"/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idership Projec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</p:spTree>
    <p:extLst>
      <p:ext uri="{BB962C8B-B14F-4D97-AF65-F5344CB8AC3E}">
        <p14:creationId xmlns:p14="http://schemas.microsoft.com/office/powerpoint/2010/main" val="2803809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ter Rail Tre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6" name="Rectangle 5"/>
          <p:cNvSpPr/>
          <p:nvPr/>
        </p:nvSpPr>
        <p:spPr>
          <a:xfrm>
            <a:off x="304800" y="5947531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NTD for FY12-14, conductor counts after July 2014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3596624"/>
              </p:ext>
            </p:extLst>
          </p:nvPr>
        </p:nvGraphicFramePr>
        <p:xfrm>
          <a:off x="462684" y="1316831"/>
          <a:ext cx="8147916" cy="4630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863979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vy Rail Tren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8931994"/>
              </p:ext>
            </p:extLst>
          </p:nvPr>
        </p:nvGraphicFramePr>
        <p:xfrm>
          <a:off x="471920" y="1295400"/>
          <a:ext cx="8300315" cy="4619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714835" y="1514856"/>
            <a:ext cx="2057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 smtClean="0">
                <a:latin typeface="+mj-lt"/>
              </a:rPr>
              <a:t>Mar 18 vs. Mar 17 </a:t>
            </a:r>
          </a:p>
          <a:p>
            <a:pPr marL="342900" indent="-342900" algn="ctr"/>
            <a:r>
              <a:rPr lang="en-US" sz="1200" dirty="0" smtClean="0">
                <a:latin typeface="+mj-lt"/>
              </a:rPr>
              <a:t>12-month weekday  avg.: -0.9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11904" y="3185726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aturday +0.6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911904" y="4010025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unday -0.9%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</p:spTree>
    <p:extLst>
      <p:ext uri="{BB962C8B-B14F-4D97-AF65-F5344CB8AC3E}">
        <p14:creationId xmlns:p14="http://schemas.microsoft.com/office/powerpoint/2010/main" val="3894647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 Trend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4383506"/>
              </p:ext>
            </p:extLst>
          </p:nvPr>
        </p:nvGraphicFramePr>
        <p:xfrm>
          <a:off x="462684" y="1295400"/>
          <a:ext cx="8300316" cy="4743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764958" y="1514856"/>
            <a:ext cx="1995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sz="1200" dirty="0"/>
              <a:t>Mar 18 vs. Mar 17 </a:t>
            </a:r>
          </a:p>
          <a:p>
            <a:pPr marL="342900" indent="-342900" algn="ctr"/>
            <a:r>
              <a:rPr lang="en-US" sz="1200" dirty="0"/>
              <a:t>12-month weekday </a:t>
            </a:r>
            <a:r>
              <a:rPr lang="en-US" sz="1200" dirty="0" err="1" smtClean="0"/>
              <a:t>avg</a:t>
            </a:r>
            <a:r>
              <a:rPr lang="en-US" sz="1200" dirty="0" smtClean="0">
                <a:latin typeface="+mj-lt"/>
              </a:rPr>
              <a:t>: -2.7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38071" y="3277157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aturday -4.4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137838" y="4239956"/>
            <a:ext cx="16632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dirty="0" smtClean="0">
                <a:latin typeface="+mj-lt"/>
              </a:rPr>
              <a:t>Sunday -2.8%</a:t>
            </a:r>
          </a:p>
        </p:txBody>
      </p:sp>
      <p:sp>
        <p:nvSpPr>
          <p:cNvPr id="9" name="TextBox 8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</p:spTree>
    <p:extLst>
      <p:ext uri="{BB962C8B-B14F-4D97-AF65-F5344CB8AC3E}">
        <p14:creationId xmlns:p14="http://schemas.microsoft.com/office/powerpoint/2010/main" val="27108059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528915" cy="466344"/>
          </a:xfrm>
        </p:spPr>
        <p:txBody>
          <a:bodyPr/>
          <a:lstStyle/>
          <a:p>
            <a:r>
              <a:rPr lang="en-US" dirty="0" smtClean="0"/>
              <a:t>Weekends over last 15 months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1244889"/>
              </p:ext>
            </p:extLst>
          </p:nvPr>
        </p:nvGraphicFramePr>
        <p:xfrm>
          <a:off x="462684" y="1295400"/>
          <a:ext cx="8224115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1"/>
          <p:cNvSpPr txBox="1"/>
          <p:nvPr/>
        </p:nvSpPr>
        <p:spPr>
          <a:xfrm>
            <a:off x="1143000" y="3886200"/>
            <a:ext cx="685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342900" indent="-342900"/>
            <a:r>
              <a:rPr lang="en-US" sz="1050" b="1" dirty="0" smtClean="0">
                <a:solidFill>
                  <a:schemeClr val="tx1"/>
                </a:solidFill>
                <a:latin typeface="Calibri Light" panose="020F0302020204030204" pitchFamily="34" charset="0"/>
              </a:rPr>
              <a:t>103 K</a:t>
            </a:r>
          </a:p>
        </p:txBody>
      </p:sp>
      <p:sp>
        <p:nvSpPr>
          <p:cNvPr id="7" name="TextBox 6"/>
          <p:cNvSpPr txBox="1"/>
          <p:nvPr/>
        </p:nvSpPr>
        <p:spPr>
          <a:xfrm rot="16200000">
            <a:off x="-1061953" y="3104933"/>
            <a:ext cx="2733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Comparable AFC taps, not total ridership </a:t>
            </a:r>
          </a:p>
        </p:txBody>
      </p:sp>
    </p:spTree>
    <p:extLst>
      <p:ext uri="{BB962C8B-B14F-4D97-AF65-F5344CB8AC3E}">
        <p14:creationId xmlns:p14="http://schemas.microsoft.com/office/powerpoint/2010/main" val="3523706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528915" cy="466344"/>
          </a:xfrm>
        </p:spPr>
        <p:txBody>
          <a:bodyPr/>
          <a:lstStyle/>
          <a:p>
            <a:r>
              <a:rPr lang="en-US" dirty="0" smtClean="0"/>
              <a:t>Peak </a:t>
            </a:r>
            <a:r>
              <a:rPr lang="en-US" dirty="0"/>
              <a:t>by Line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1662" y="5346353"/>
            <a:ext cx="824273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For comparison purposes excludes downtown transfer stations (to eliminate impacts of Government Center closure)</a:t>
            </a:r>
          </a:p>
          <a:p>
            <a:r>
              <a:rPr lang="en-US" sz="1300" dirty="0"/>
              <a:t>Peak as defined as 7-9 AM, 4-6:30 PM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5BC56810-5531-4B51-B02D-361AB8D37F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1048550"/>
              </p:ext>
            </p:extLst>
          </p:nvPr>
        </p:nvGraphicFramePr>
        <p:xfrm>
          <a:off x="538162" y="1219200"/>
          <a:ext cx="8067675" cy="4157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001000" y="2133600"/>
            <a:ext cx="106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Blue: +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14.5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Orange: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2.0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Red: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+1.6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Bus: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6.3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872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idership Upda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8528915" cy="466344"/>
          </a:xfrm>
        </p:spPr>
        <p:txBody>
          <a:bodyPr/>
          <a:lstStyle/>
          <a:p>
            <a:r>
              <a:rPr lang="en-US" dirty="0"/>
              <a:t>Off Peak </a:t>
            </a:r>
            <a:r>
              <a:rPr lang="en-US" dirty="0" smtClean="0"/>
              <a:t>(Weekdays) by </a:t>
            </a:r>
            <a:r>
              <a:rPr lang="en-US" dirty="0"/>
              <a:t>Line</a:t>
            </a:r>
          </a:p>
        </p:txBody>
      </p:sp>
      <p:sp>
        <p:nvSpPr>
          <p:cNvPr id="8" name="Rectangle 7"/>
          <p:cNvSpPr/>
          <p:nvPr/>
        </p:nvSpPr>
        <p:spPr>
          <a:xfrm>
            <a:off x="304800" y="6038850"/>
            <a:ext cx="82164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ource: AFC dat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91662" y="5376920"/>
            <a:ext cx="8242738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00" dirty="0"/>
              <a:t>For comparison purposes excludes downtown transfer stations and service after 12 AM (to eliminate impacts of late night and Government Center closure)</a:t>
            </a:r>
          </a:p>
          <a:p>
            <a:r>
              <a:rPr lang="en-US" sz="1300" dirty="0"/>
              <a:t>Peak as defined as 7-9 AM, 4-6:30 PM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0000000-0008-0000-01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8695612"/>
              </p:ext>
            </p:extLst>
          </p:nvPr>
        </p:nvGraphicFramePr>
        <p:xfrm>
          <a:off x="538162" y="1295400"/>
          <a:ext cx="8067675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113336" y="2644030"/>
            <a:ext cx="1066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Blue: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+7.2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Orange: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4.6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Red: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6.4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Bus: -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9.6%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909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ADBC808CDD1047A9A6641C2AB68A6A" ma:contentTypeVersion="2" ma:contentTypeDescription="Create a new document." ma:contentTypeScope="" ma:versionID="377e9ead4a90ab8f997f8b39c812703f">
  <xsd:schema xmlns:xsd="http://www.w3.org/2001/XMLSchema" xmlns:xs="http://www.w3.org/2001/XMLSchema" xmlns:p="http://schemas.microsoft.com/office/2006/metadata/properties" xmlns:ns2="6890c62c-aa74-4a5a-bd43-8f7f1286f230" targetNamespace="http://schemas.microsoft.com/office/2006/metadata/properties" ma:root="true" ma:fieldsID="9a89c927673b4b2c4ebf5345936a6b1e" ns2:_="">
    <xsd:import namespace="6890c62c-aa74-4a5a-bd43-8f7f1286f2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90c62c-aa74-4a5a-bd43-8f7f1286f2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9BA56A-6B75-4C55-B8FE-EDF3B3F18298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dcmitype/"/>
    <ds:schemaRef ds:uri="6890c62c-aa74-4a5a-bd43-8f7f1286f230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88100CF-5106-4D9E-9EC4-DD7BA50537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CEDE35-EC20-4CBD-AF3A-376A116D0D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90c62c-aa74-4a5a-bd43-8f7f1286f2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4006</TotalTime>
  <Words>532</Words>
  <Application>Microsoft Office PowerPoint</Application>
  <PresentationFormat>On-screen Show (4:3)</PresentationFormat>
  <Paragraphs>79</Paragraphs>
  <Slides>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Verdana</vt:lpstr>
      <vt:lpstr>Arial</vt:lpstr>
      <vt:lpstr>Calibri Light</vt:lpstr>
      <vt:lpstr>Calibri</vt:lpstr>
      <vt:lpstr>MBTA Black Line - Blue Title Template</vt:lpstr>
      <vt:lpstr>Quarterly Ridership Update</vt:lpstr>
      <vt:lpstr>Overview</vt:lpstr>
      <vt:lpstr>Ridership Project</vt:lpstr>
      <vt:lpstr>Commuter Rail Trend</vt:lpstr>
      <vt:lpstr>Heavy Rail Trend</vt:lpstr>
      <vt:lpstr>Bus Trend</vt:lpstr>
      <vt:lpstr>Weekends over last 15 months</vt:lpstr>
      <vt:lpstr>Peak by Line</vt:lpstr>
      <vt:lpstr>Off Peak (Weekdays) by 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shin, Samuel</dc:creator>
  <cp:lastModifiedBy>Ciampa, Christine</cp:lastModifiedBy>
  <cp:revision>124</cp:revision>
  <cp:lastPrinted>2018-05-04T18:21:44Z</cp:lastPrinted>
  <dcterms:created xsi:type="dcterms:W3CDTF">2018-01-02T19:34:41Z</dcterms:created>
  <dcterms:modified xsi:type="dcterms:W3CDTF">2018-05-04T18:2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DBC808CDD1047A9A6641C2AB68A6A</vt:lpwstr>
  </property>
</Properties>
</file>